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2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3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4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5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heme/theme16.xml" ContentType="application/vnd.openxmlformats-officedocument.theme+xml"/>
  <Override PartName="/ppt/theme/theme17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5" r:id="rId13"/>
    <p:sldMasterId id="2147484067" r:id="rId14"/>
    <p:sldMasterId id="2147484090" r:id="rId15"/>
    <p:sldMasterId id="2147484122" r:id="rId16"/>
  </p:sldMasterIdLst>
  <p:notesMasterIdLst>
    <p:notesMasterId r:id="rId31"/>
  </p:notesMasterIdLst>
  <p:handoutMasterIdLst>
    <p:handoutMasterId r:id="rId32"/>
  </p:handoutMasterIdLst>
  <p:sldIdLst>
    <p:sldId id="256" r:id="rId17"/>
    <p:sldId id="257" r:id="rId18"/>
    <p:sldId id="271" r:id="rId19"/>
    <p:sldId id="259" r:id="rId20"/>
    <p:sldId id="260" r:id="rId21"/>
    <p:sldId id="273" r:id="rId22"/>
    <p:sldId id="277" r:id="rId23"/>
    <p:sldId id="262" r:id="rId24"/>
    <p:sldId id="264" r:id="rId25"/>
    <p:sldId id="275" r:id="rId26"/>
    <p:sldId id="276" r:id="rId27"/>
    <p:sldId id="268" r:id="rId28"/>
    <p:sldId id="269" r:id="rId29"/>
    <p:sldId id="270" r:id="rId30"/>
  </p:sldIdLst>
  <p:sldSz cx="13442950" cy="7561263"/>
  <p:notesSz cx="6858000" cy="9144000"/>
  <p:custDataLst>
    <p:tags r:id="rId33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00AB"/>
    <a:srgbClr val="FFFFFF"/>
    <a:srgbClr val="FB3449"/>
    <a:srgbClr val="000000"/>
    <a:srgbClr val="CAC8C8"/>
    <a:srgbClr val="8547AD"/>
    <a:srgbClr val="33006F"/>
    <a:srgbClr val="0099A8"/>
    <a:srgbClr val="EA576C"/>
    <a:srgbClr val="DF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42" autoAdjust="0"/>
    <p:restoredTop sz="93970" autoAdjust="0"/>
  </p:normalViewPr>
  <p:slideViewPr>
    <p:cSldViewPr snapToGrid="0">
      <p:cViewPr varScale="1">
        <p:scale>
          <a:sx n="104" d="100"/>
          <a:sy n="104" d="100"/>
        </p:scale>
        <p:origin x="708" y="10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microsoft.com/office/2015/10/relationships/revisionInfo" Target="revisionInfo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5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8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5837146333240031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% Cinemago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87-4D8B-B2A5-840CAC6A8628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87-4D8B-B2A5-840CAC6A862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</c:f>
              <c:strCache>
                <c:ptCount val="2"/>
                <c:pt idx="0">
                  <c:v>Not used an SVOD service in the last month </c:v>
                </c:pt>
                <c:pt idx="1">
                  <c:v>Used an SVOD service in the last month </c:v>
                </c:pt>
              </c:strCache>
            </c:strRef>
          </c:cat>
          <c:val>
            <c:numRef>
              <c:f>Sheet1!$B$3:$B$4</c:f>
              <c:numCache>
                <c:formatCode>0%</c:formatCode>
                <c:ptCount val="2"/>
                <c:pt idx="0">
                  <c:v>0.86</c:v>
                </c:pt>
                <c:pt idx="1">
                  <c:v>0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87-4D8B-B2A5-840CAC6A8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0374312"/>
        <c:axId val="420375952"/>
      </c:barChart>
      <c:catAx>
        <c:axId val="420374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5952"/>
        <c:crosses val="autoZero"/>
        <c:auto val="1"/>
        <c:lblAlgn val="ctr"/>
        <c:lblOffset val="100"/>
        <c:noMultiLvlLbl val="0"/>
      </c:catAx>
      <c:valAx>
        <c:axId val="420375952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4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44161481722076423"/>
          <c:y val="3.35951157463217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3.8984620133133044E-2"/>
          <c:y val="0.13462042809776065"/>
          <c:w val="0.94950472460077517"/>
          <c:h val="0.8126352401805142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8</c:f>
              <c:strCache>
                <c:ptCount val="1"/>
                <c:pt idx="0">
                  <c:v>% Cinemagoers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9:$A$18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Sheet1!$B$9:$B$18</c:f>
              <c:numCache>
                <c:formatCode>0%</c:formatCode>
                <c:ptCount val="10"/>
                <c:pt idx="0">
                  <c:v>0.77</c:v>
                </c:pt>
                <c:pt idx="1">
                  <c:v>0.79</c:v>
                </c:pt>
                <c:pt idx="2">
                  <c:v>0.81</c:v>
                </c:pt>
                <c:pt idx="3">
                  <c:v>0.82</c:v>
                </c:pt>
                <c:pt idx="4">
                  <c:v>0.85</c:v>
                </c:pt>
                <c:pt idx="5">
                  <c:v>0.87</c:v>
                </c:pt>
                <c:pt idx="6">
                  <c:v>0.89</c:v>
                </c:pt>
                <c:pt idx="7">
                  <c:v>0.9</c:v>
                </c:pt>
                <c:pt idx="8">
                  <c:v>0.92</c:v>
                </c:pt>
                <c:pt idx="9">
                  <c:v>0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64A-4BA5-B584-9D19781B7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0373000"/>
        <c:axId val="420375624"/>
      </c:barChart>
      <c:catAx>
        <c:axId val="4203730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5624"/>
        <c:crosses val="autoZero"/>
        <c:auto val="1"/>
        <c:lblAlgn val="ctr"/>
        <c:lblOffset val="100"/>
        <c:noMultiLvlLbl val="0"/>
      </c:catAx>
      <c:valAx>
        <c:axId val="420375624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3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230757504308751E-2"/>
          <c:y val="2.4486534719592543E-2"/>
          <c:w val="0.93430547452198098"/>
          <c:h val="0.83856143343788636"/>
        </c:manualLayout>
      </c:layout>
      <c:lineChart>
        <c:grouping val="standard"/>
        <c:varyColors val="0"/>
        <c:ser>
          <c:idx val="0"/>
          <c:order val="0"/>
          <c:tx>
            <c:strRef>
              <c:f>Sheet1!$B$5</c:f>
              <c:strCache>
                <c:ptCount val="1"/>
                <c:pt idx="0">
                  <c:v>Family ticket sales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1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889-463A-8B97-815E6FC8697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dirty="0"/>
                      <a:t>12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889-463A-8B97-815E6FC8697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dirty="0"/>
                      <a:t>12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889-463A-8B97-815E6FC86973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 dirty="0"/>
                      <a:t>14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889-463A-8B97-815E6FC869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6:$A$17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B$6:$B$17</c:f>
              <c:numCache>
                <c:formatCode>0</c:formatCode>
                <c:ptCount val="12"/>
                <c:pt idx="0">
                  <c:v>7.5324931284938614</c:v>
                </c:pt>
                <c:pt idx="1">
                  <c:v>8.2336557168399622</c:v>
                </c:pt>
                <c:pt idx="2">
                  <c:v>8.0350927362843425</c:v>
                </c:pt>
                <c:pt idx="3">
                  <c:v>11.403411262543676</c:v>
                </c:pt>
                <c:pt idx="4">
                  <c:v>5.8587921036792174</c:v>
                </c:pt>
                <c:pt idx="5">
                  <c:v>4.8018061066113349</c:v>
                </c:pt>
                <c:pt idx="6">
                  <c:v>12.409052063838367</c:v>
                </c:pt>
                <c:pt idx="7">
                  <c:v>12.144075113233631</c:v>
                </c:pt>
                <c:pt idx="8">
                  <c:v>2.836494956627035</c:v>
                </c:pt>
                <c:pt idx="9">
                  <c:v>5.7041963539444884</c:v>
                </c:pt>
                <c:pt idx="10">
                  <c:v>6.9124818957667138</c:v>
                </c:pt>
                <c:pt idx="11">
                  <c:v>14.12844856213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889-463A-8B97-815E6FC86973}"/>
            </c:ext>
          </c:extLst>
        </c:ser>
        <c:ser>
          <c:idx val="1"/>
          <c:order val="1"/>
          <c:tx>
            <c:strRef>
              <c:f>Sheet1!$C$5</c:f>
              <c:strCache>
                <c:ptCount val="1"/>
                <c:pt idx="0">
                  <c:v>Adult ticket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6:$A$17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C$6:$C$17</c:f>
              <c:numCache>
                <c:formatCode>0</c:formatCode>
                <c:ptCount val="12"/>
                <c:pt idx="0">
                  <c:v>8.9550847576616146</c:v>
                </c:pt>
                <c:pt idx="1">
                  <c:v>9.0127548433734876</c:v>
                </c:pt>
                <c:pt idx="2">
                  <c:v>8.3175374559235635</c:v>
                </c:pt>
                <c:pt idx="3">
                  <c:v>8.4608354924886839</c:v>
                </c:pt>
                <c:pt idx="4">
                  <c:v>7.1386526372386534</c:v>
                </c:pt>
                <c:pt idx="5">
                  <c:v>6.3049349411579998</c:v>
                </c:pt>
                <c:pt idx="6">
                  <c:v>9.3035744836663579</c:v>
                </c:pt>
                <c:pt idx="7">
                  <c:v>9.4077415235965756</c:v>
                </c:pt>
                <c:pt idx="8">
                  <c:v>7.0465701183471161</c:v>
                </c:pt>
                <c:pt idx="9">
                  <c:v>8.7965847912173682</c:v>
                </c:pt>
                <c:pt idx="10">
                  <c:v>8.0770239778177011</c:v>
                </c:pt>
                <c:pt idx="11">
                  <c:v>9.17870497751088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89-463A-8B97-815E6FC869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22016544"/>
        <c:axId val="422022120"/>
      </c:lineChart>
      <c:catAx>
        <c:axId val="4220165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solidFill>
            <a:srgbClr val="FFFFFF"/>
          </a:solidFill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2022120"/>
        <c:crosses val="autoZero"/>
        <c:auto val="1"/>
        <c:lblAlgn val="ctr"/>
        <c:lblOffset val="100"/>
        <c:noMultiLvlLbl val="0"/>
      </c:catAx>
      <c:valAx>
        <c:axId val="422022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dirty="0">
                    <a:solidFill>
                      <a:schemeClr val="accent6"/>
                    </a:solidFill>
                  </a:rPr>
                  <a:t>%</a:t>
                </a:r>
                <a:r>
                  <a:rPr lang="en-GB" sz="1000" b="1" baseline="0" dirty="0">
                    <a:solidFill>
                      <a:schemeClr val="accent6"/>
                    </a:solidFill>
                  </a:rPr>
                  <a:t> of annual ticket sales by month – family vs. adult</a:t>
                </a:r>
                <a:endParaRPr lang="en-US" sz="1000" b="1" dirty="0">
                  <a:solidFill>
                    <a:schemeClr val="accent6"/>
                  </a:solidFill>
                </a:endParaRPr>
              </a:p>
            </c:rich>
          </c:tx>
          <c:layout>
            <c:manualLayout>
              <c:xMode val="edge"/>
              <c:yMode val="edge"/>
              <c:x val="5.1932366557126176E-4"/>
              <c:y val="0.134551194595841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out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2016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914898308247954"/>
          <c:y val="0.9609451339664099"/>
          <c:w val="0.45624309647103622"/>
          <c:h val="3.90548660335901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5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/28/20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/28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75802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08240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2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336532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5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25510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5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22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5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173468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10145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6922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50922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4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10975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3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94514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3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35069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51774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3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174432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3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9438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4817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8081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2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9520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2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4482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2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134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32307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1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84698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1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2355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1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500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1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0640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83813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9498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96096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0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0613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77268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7016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92125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0013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68942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7885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9" t="3595" r="68462" b="84596"/>
          <a:stretch/>
        </p:blipFill>
        <p:spPr>
          <a:xfrm>
            <a:off x="0" y="195941"/>
            <a:ext cx="3545263" cy="80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07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9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9" t="6436" r="69250" b="88379"/>
          <a:stretch/>
        </p:blipFill>
        <p:spPr>
          <a:xfrm>
            <a:off x="0" y="390524"/>
            <a:ext cx="3449240" cy="355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08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9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406899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8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77258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8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081553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8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872782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8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266734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7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4125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7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85663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05958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0296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7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05855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6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51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6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1994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6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91224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6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4205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2871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10516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912419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8386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2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1518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1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9481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1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553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9548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1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2630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1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47554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5876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55057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05121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7051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2783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632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005618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4338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28014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9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0474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80852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191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8210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9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8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78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7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4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vmlDrawing" Target="../drawings/vmlDrawing76.v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0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oleObject" Target="../embeddings/oleObject76.bin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tags" Target="../tags/tag7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slideLayout" Target="../slideLayouts/slideLayout130.xml"/><Relationship Id="rId26" Type="http://schemas.openxmlformats.org/officeDocument/2006/relationships/oleObject" Target="../embeddings/oleObject87.bin"/><Relationship Id="rId3" Type="http://schemas.openxmlformats.org/officeDocument/2006/relationships/slideLayout" Target="../slideLayouts/slideLayout115.xml"/><Relationship Id="rId21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slideLayout" Target="../slideLayouts/slideLayout129.xml"/><Relationship Id="rId25" Type="http://schemas.openxmlformats.org/officeDocument/2006/relationships/tags" Target="../tags/tag88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20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24" Type="http://schemas.openxmlformats.org/officeDocument/2006/relationships/vmlDrawing" Target="../drawings/vmlDrawing87.v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23" Type="http://schemas.openxmlformats.org/officeDocument/2006/relationships/theme" Target="../theme/theme1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Relationship Id="rId22" Type="http://schemas.openxmlformats.org/officeDocument/2006/relationships/slideLayout" Target="../slideLayouts/slideLayout134.xml"/><Relationship Id="rId27" Type="http://schemas.openxmlformats.org/officeDocument/2006/relationships/image" Target="../media/image1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37.xml"/><Relationship Id="rId21" Type="http://schemas.openxmlformats.org/officeDocument/2006/relationships/tags" Target="../tags/tag103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vmlDrawing" Target="../drawings/vmlDrawing102.v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44.xml"/><Relationship Id="rId19" Type="http://schemas.openxmlformats.org/officeDocument/2006/relationships/theme" Target="../theme/theme1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oleObject" Target="../embeddings/oleObject102.bin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oleObject" Target="../embeddings/oleObject121.bin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tags" Target="../tags/tag122.xml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vmlDrawing" Target="../drawings/vmlDrawing121.vml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theme" Target="../theme/theme15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3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58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01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705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232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614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075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350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755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  <p:sldLayoutId id="2147484078" r:id="rId11"/>
    <p:sldLayoutId id="2147484079" r:id="rId12"/>
    <p:sldLayoutId id="2147484080" r:id="rId13"/>
    <p:sldLayoutId id="2147484081" r:id="rId14"/>
    <p:sldLayoutId id="2147484082" r:id="rId15"/>
    <p:sldLayoutId id="2147484083" r:id="rId16"/>
    <p:sldLayoutId id="2147484084" r:id="rId17"/>
    <p:sldLayoutId id="2147484085" r:id="rId18"/>
    <p:sldLayoutId id="2147484086" r:id="rId19"/>
    <p:sldLayoutId id="2147484087" r:id="rId20"/>
    <p:sldLayoutId id="2147484088" r:id="rId21"/>
    <p:sldLayoutId id="214748408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90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1"/>
            <a:ext cx="13442950" cy="7561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420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8415" y="7233159"/>
            <a:ext cx="1235710" cy="195580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1234675" y="7153109"/>
            <a:ext cx="0" cy="32742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829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04" r:id="rId14"/>
    <p:sldLayoutId id="2147484105" r:id="rId15"/>
    <p:sldLayoutId id="2147484106" r:id="rId16"/>
    <p:sldLayoutId id="2147484107" r:id="rId17"/>
    <p:sldLayoutId id="2147484108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94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164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3" r:id="rId1"/>
    <p:sldLayoutId id="2147484124" r:id="rId2"/>
    <p:sldLayoutId id="2147484125" r:id="rId3"/>
    <p:sldLayoutId id="2147484126" r:id="rId4"/>
    <p:sldLayoutId id="2147484127" r:id="rId5"/>
    <p:sldLayoutId id="2147484128" r:id="rId6"/>
    <p:sldLayoutId id="2147484129" r:id="rId7"/>
    <p:sldLayoutId id="2147484130" r:id="rId8"/>
    <p:sldLayoutId id="2147484131" r:id="rId9"/>
    <p:sldLayoutId id="2147484132" r:id="rId10"/>
    <p:sldLayoutId id="2147484133" r:id="rId11"/>
    <p:sldLayoutId id="2147484134" r:id="rId12"/>
    <p:sldLayoutId id="2147484135" r:id="rId13"/>
    <p:sldLayoutId id="2147484136" r:id="rId14"/>
    <p:sldLayoutId id="2147484137" r:id="rId15"/>
    <p:sldLayoutId id="2147484138" r:id="rId16"/>
    <p:sldLayoutId id="2147484139" r:id="rId17"/>
    <p:sldLayoutId id="2147484140" r:id="rId18"/>
    <p:sldLayoutId id="2147484141" r:id="rId19"/>
    <p:sldLayoutId id="2147484142" r:id="rId20"/>
    <p:sldLayoutId id="2147484143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83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65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41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48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30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930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481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770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113.xml"/><Relationship Id="rId4" Type="http://schemas.openxmlformats.org/officeDocument/2006/relationships/image" Target="../media/image27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5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14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1D4C6D22-4517-7F41-926E-CC372CD3E59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09" t="12990" r="-1" b="14823"/>
          <a:stretch/>
        </p:blipFill>
        <p:spPr>
          <a:xfrm>
            <a:off x="0" y="0"/>
            <a:ext cx="13442950" cy="7097713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8F928EC-7E68-4F88-83A8-5037F72FB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21828" y="1938553"/>
            <a:ext cx="5698977" cy="420860"/>
          </a:xfrm>
        </p:spPr>
        <p:txBody>
          <a:bodyPr/>
          <a:lstStyle/>
          <a:p>
            <a:pPr algn="r">
              <a:lnSpc>
                <a:spcPts val="5500"/>
              </a:lnSpc>
            </a:pPr>
            <a:r>
              <a:rPr lang="en-GB" sz="5000" dirty="0">
                <a:solidFill>
                  <a:srgbClr val="DA00AB"/>
                </a:solidFill>
                <a:effectLst>
                  <a:outerShdw blurRad="50800" dist="19050" dir="2700000" algn="tl" rotWithShape="0">
                    <a:prstClr val="black">
                      <a:alpha val="22000"/>
                    </a:prstClr>
                  </a:outerShdw>
                </a:effectLst>
              </a:rPr>
              <a:t>Main shoppers with </a:t>
            </a:r>
            <a:br>
              <a:rPr lang="en-GB" sz="5000" dirty="0">
                <a:solidFill>
                  <a:srgbClr val="DA00AB"/>
                </a:solidFill>
                <a:effectLst>
                  <a:outerShdw blurRad="50800" dist="19050" dir="2700000" algn="tl" rotWithShape="0">
                    <a:prstClr val="black">
                      <a:alpha val="22000"/>
                    </a:prstClr>
                  </a:outerShdw>
                </a:effectLst>
              </a:rPr>
            </a:br>
            <a:r>
              <a:rPr lang="en-GB" sz="5000" dirty="0">
                <a:solidFill>
                  <a:srgbClr val="DA00AB"/>
                </a:solidFill>
                <a:effectLst>
                  <a:outerShdw blurRad="50800" dist="19050" dir="2700000" algn="tl" rotWithShape="0">
                    <a:prstClr val="black">
                      <a:alpha val="22000"/>
                    </a:prstClr>
                  </a:outerShdw>
                </a:effectLst>
              </a:rPr>
              <a:t>children want </a:t>
            </a:r>
            <a:br>
              <a:rPr lang="en-GB" sz="5000" dirty="0">
                <a:solidFill>
                  <a:srgbClr val="DA00AB"/>
                </a:solidFill>
                <a:effectLst>
                  <a:outerShdw blurRad="50800" dist="19050" dir="2700000" algn="tl" rotWithShape="0">
                    <a:prstClr val="black">
                      <a:alpha val="22000"/>
                    </a:prstClr>
                  </a:outerShdw>
                </a:effectLst>
              </a:rPr>
            </a:br>
            <a:r>
              <a:rPr lang="en-GB" sz="5000" dirty="0">
                <a:solidFill>
                  <a:srgbClr val="DA00AB"/>
                </a:solidFill>
                <a:effectLst>
                  <a:outerShdw blurRad="50800" dist="19050" dir="2700000" algn="tl" rotWithShape="0">
                    <a:prstClr val="black">
                      <a:alpha val="22000"/>
                    </a:prstClr>
                  </a:outerShdw>
                </a:effectLst>
              </a:rPr>
              <a:t>quality time </a:t>
            </a:r>
            <a:endParaRPr lang="en-US" sz="5000" dirty="0">
              <a:solidFill>
                <a:srgbClr val="DA00AB"/>
              </a:solidFill>
              <a:effectLst>
                <a:outerShdw blurRad="50800" dist="19050" dir="2700000" algn="tl" rotWithShape="0">
                  <a:prstClr val="black">
                    <a:alpha val="22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8542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NEMA IS A treat for the kids, a break for the parents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728939" y="2146517"/>
            <a:ext cx="3420000" cy="3420000"/>
          </a:xfrm>
          <a:solidFill>
            <a:schemeClr val="accent1"/>
          </a:solidFill>
        </p:spPr>
        <p:txBody>
          <a:bodyPr anchor="ctr"/>
          <a:lstStyle/>
          <a:p>
            <a:r>
              <a:rPr lang="en-GB" sz="6000" dirty="0">
                <a:latin typeface="+mj-lt"/>
              </a:rPr>
              <a:t>64% </a:t>
            </a:r>
          </a:p>
          <a:p>
            <a:r>
              <a:rPr lang="en-GB" sz="1400" dirty="0"/>
              <a:t>more likely to visit </a:t>
            </a:r>
          </a:p>
          <a:p>
            <a:r>
              <a:rPr lang="en-GB" sz="1400" dirty="0"/>
              <a:t>the cinema for a trea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011475" y="2146517"/>
            <a:ext cx="3420000" cy="3420000"/>
          </a:xfrm>
          <a:solidFill>
            <a:schemeClr val="tx2"/>
          </a:solidFill>
        </p:spPr>
        <p:txBody>
          <a:bodyPr/>
          <a:lstStyle/>
          <a:p>
            <a:r>
              <a:rPr lang="en-GB" sz="6000" dirty="0">
                <a:latin typeface="+mj-lt"/>
              </a:rPr>
              <a:t>8 IN 10</a:t>
            </a:r>
            <a:r>
              <a:rPr lang="en-GB" sz="4800" dirty="0">
                <a:latin typeface="+mj-lt"/>
              </a:rPr>
              <a:t> </a:t>
            </a:r>
            <a:r>
              <a:rPr lang="en-GB" sz="1400" dirty="0"/>
              <a:t>Children choose the film </a:t>
            </a:r>
          </a:p>
          <a:p>
            <a:r>
              <a:rPr lang="en-GB" sz="1400" dirty="0"/>
              <a:t>on 8 in 10 cinema visits</a:t>
            </a:r>
            <a:endParaRPr lang="en-US" sz="14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9294011" y="2146517"/>
            <a:ext cx="3420000" cy="3420000"/>
          </a:xfrm>
          <a:solidFill>
            <a:schemeClr val="accent1"/>
          </a:solidFill>
        </p:spPr>
        <p:txBody>
          <a:bodyPr/>
          <a:lstStyle/>
          <a:p>
            <a:r>
              <a:rPr lang="en-GB" sz="6000" dirty="0">
                <a:latin typeface="+mj-lt"/>
              </a:rPr>
              <a:t>£18.80 </a:t>
            </a:r>
            <a:r>
              <a:rPr lang="en-GB" sz="1400" dirty="0"/>
              <a:t>average foyer spend on food/drink – vs. £12.60 of average UK cinemagoer</a:t>
            </a:r>
            <a:endParaRPr lang="en-US" sz="1400" dirty="0"/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12423740" cy="436608"/>
          </a:xfrm>
        </p:spPr>
        <p:txBody>
          <a:bodyPr/>
          <a:lstStyle/>
          <a:p>
            <a:r>
              <a:rPr lang="en-GB" dirty="0"/>
              <a:t>The children chose the film, the parents buy the popcorn</a:t>
            </a:r>
            <a:endParaRPr lang="en-US" dirty="0"/>
          </a:p>
          <a:p>
            <a:endParaRPr lang="en-US" dirty="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DA80FB1-A94E-4EF1-BC87-91AD1DD910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55403" y="7206835"/>
            <a:ext cx="7843085" cy="24622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00000"/>
              </a:lnSpc>
            </a:pPr>
            <a:r>
              <a:rPr lang="en-GB" sz="800" dirty="0">
                <a:solidFill>
                  <a:schemeClr val="bg1"/>
                </a:solidFill>
              </a:rPr>
              <a:t>Source: </a:t>
            </a:r>
            <a:r>
              <a:rPr lang="en-GB" sz="800" b="0" dirty="0">
                <a:solidFill>
                  <a:schemeClr val="bg1"/>
                </a:solidFill>
              </a:rPr>
              <a:t>FAME 2018.  </a:t>
            </a:r>
            <a:r>
              <a:rPr lang="en-GB" b="0" dirty="0"/>
              <a:t>Target</a:t>
            </a:r>
            <a:r>
              <a:rPr lang="en-GB" sz="800" dirty="0">
                <a:solidFill>
                  <a:schemeClr val="bg1"/>
                </a:solidFill>
              </a:rPr>
              <a:t>: Main shoppers with children </a:t>
            </a:r>
            <a:r>
              <a:rPr lang="en-GB" dirty="0"/>
              <a:t>who l</a:t>
            </a:r>
            <a:r>
              <a:rPr lang="en-GB" sz="800" b="0" dirty="0">
                <a:solidFill>
                  <a:schemeClr val="bg1"/>
                </a:solidFill>
              </a:rPr>
              <a:t>ast went to the cinema with </a:t>
            </a:r>
            <a:r>
              <a:rPr lang="en-GB" dirty="0"/>
              <a:t>their c</a:t>
            </a:r>
            <a:r>
              <a:rPr lang="en-GB" sz="800" b="0" dirty="0">
                <a:solidFill>
                  <a:schemeClr val="bg1"/>
                </a:solidFill>
              </a:rPr>
              <a:t>hildren. </a:t>
            </a:r>
          </a:p>
          <a:p>
            <a:pPr algn="r">
              <a:lnSpc>
                <a:spcPct val="100000"/>
              </a:lnSpc>
            </a:pPr>
            <a:r>
              <a:rPr lang="en-GB" sz="800" b="0" dirty="0">
                <a:solidFill>
                  <a:schemeClr val="bg1"/>
                </a:solidFill>
              </a:rPr>
              <a:t>Index vs. average UK cinemagoer. </a:t>
            </a:r>
          </a:p>
        </p:txBody>
      </p:sp>
    </p:spTree>
    <p:extLst>
      <p:ext uri="{BB962C8B-B14F-4D97-AF65-F5344CB8AC3E}">
        <p14:creationId xmlns:p14="http://schemas.microsoft.com/office/powerpoint/2010/main" val="190377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7276AA-FD40-4D36-9DFB-F40CA5647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nema is an ‘appointment to view’ experience 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3A10B6-5E1B-4620-9EE9-9020D15731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50882" y="7188472"/>
            <a:ext cx="4882969" cy="246221"/>
          </a:xfrm>
        </p:spPr>
        <p:txBody>
          <a:bodyPr/>
          <a:lstStyle/>
          <a:p>
            <a:r>
              <a:rPr lang="en-US" dirty="0"/>
              <a:t>Source: FAME 2018. Index vs. average UK cinemagoer. </a:t>
            </a:r>
          </a:p>
          <a:p>
            <a:r>
              <a:rPr lang="en-US" dirty="0"/>
              <a:t>1. I bought the tickets in advance or someone else bought the tickets in advance 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B0EBB5-E508-40BE-973E-0C45317816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Excitement builds as they plan their family visit for the opening week of a film </a:t>
            </a:r>
            <a:endParaRPr lang="en-US" dirty="0"/>
          </a:p>
          <a:p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CB769C2-9276-49EB-ADC9-8E943CA640E6}"/>
              </a:ext>
            </a:extLst>
          </p:cNvPr>
          <p:cNvSpPr txBox="1">
            <a:spLocks/>
          </p:cNvSpPr>
          <p:nvPr/>
        </p:nvSpPr>
        <p:spPr>
          <a:xfrm>
            <a:off x="2211018" y="5601164"/>
            <a:ext cx="3632589" cy="70532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Buy cinema tickets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in advance</a:t>
            </a:r>
            <a:r>
              <a:rPr lang="en-GB" sz="1000" baseline="50000" dirty="0">
                <a:solidFill>
                  <a:srgbClr val="8A8A8D"/>
                </a:solidFill>
                <a:latin typeface="Arial"/>
              </a:rPr>
              <a:t>1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dex: 127)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2C50056-19DE-4976-B630-37B199D4B531}"/>
              </a:ext>
            </a:extLst>
          </p:cNvPr>
          <p:cNvSpPr txBox="1">
            <a:spLocks/>
          </p:cNvSpPr>
          <p:nvPr/>
        </p:nvSpPr>
        <p:spPr>
          <a:xfrm>
            <a:off x="7602260" y="5565843"/>
            <a:ext cx="3690071" cy="70532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accent6"/>
                </a:solidFill>
              </a:rPr>
              <a:t>Go to watch at a film at the cinema</a:t>
            </a:r>
          </a:p>
          <a:p>
            <a:pPr algn="ctr"/>
            <a:r>
              <a:rPr lang="en-GB" sz="1600" dirty="0">
                <a:solidFill>
                  <a:schemeClr val="accent6"/>
                </a:solidFill>
              </a:rPr>
              <a:t> in its opening week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dex: 136)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419544D-E0C1-471D-9259-29ABBB9699C1}"/>
              </a:ext>
            </a:extLst>
          </p:cNvPr>
          <p:cNvSpPr txBox="1">
            <a:spLocks/>
          </p:cNvSpPr>
          <p:nvPr/>
        </p:nvSpPr>
        <p:spPr bwMode="gray">
          <a:xfrm>
            <a:off x="3016443" y="2904555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rgbClr val="B6008D"/>
                </a:solidFill>
                <a:effectLst/>
                <a:uLnTx/>
                <a:uFillTx/>
                <a:latin typeface="Impact" charset="0"/>
              </a:rPr>
              <a:t>75%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6C93B86-CC97-4164-B5EC-04BABBEAFAB8}"/>
              </a:ext>
            </a:extLst>
          </p:cNvPr>
          <p:cNvGrpSpPr/>
          <p:nvPr/>
        </p:nvGrpSpPr>
        <p:grpSpPr>
          <a:xfrm>
            <a:off x="2182278" y="1509703"/>
            <a:ext cx="3693979" cy="3693979"/>
            <a:chOff x="5372210" y="1607899"/>
            <a:chExt cx="3693979" cy="3693979"/>
          </a:xfrm>
        </p:grpSpPr>
        <p:sp>
          <p:nvSpPr>
            <p:cNvPr id="16" name="Block Arc 15">
              <a:extLst>
                <a:ext uri="{FF2B5EF4-FFF2-40B4-BE49-F238E27FC236}">
                  <a16:creationId xmlns:a16="http://schemas.microsoft.com/office/drawing/2014/main" id="{C1F69D20-7E08-401A-A6E7-90A45E74FE18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1953944"/>
                <a:gd name="adj3" fmla="val 2696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Block Arc 16">
              <a:extLst>
                <a:ext uri="{FF2B5EF4-FFF2-40B4-BE49-F238E27FC236}">
                  <a16:creationId xmlns:a16="http://schemas.microsoft.com/office/drawing/2014/main" id="{1E58C1B8-DAB3-4E94-A626-D4531E9A76F7}"/>
                </a:ext>
              </a:extLst>
            </p:cNvPr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9595572"/>
                <a:gd name="adj2" fmla="val 4156081"/>
                <a:gd name="adj3" fmla="val 26923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953B6A-C33D-45AA-9A40-4EC3FE73EA8B}"/>
              </a:ext>
            </a:extLst>
          </p:cNvPr>
          <p:cNvSpPr txBox="1">
            <a:spLocks/>
          </p:cNvSpPr>
          <p:nvPr/>
        </p:nvSpPr>
        <p:spPr bwMode="gray">
          <a:xfrm>
            <a:off x="8430562" y="2904555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dirty="0">
                <a:solidFill>
                  <a:srgbClr val="B6008D"/>
                </a:solidFill>
              </a:rPr>
              <a:t>52</a:t>
            </a: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rgbClr val="B6008D"/>
                </a:solidFill>
                <a:effectLst/>
                <a:uLnTx/>
                <a:uFillTx/>
                <a:latin typeface="Impact" charset="0"/>
              </a:rPr>
              <a:t>%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976B544-65A4-4A74-80DD-78DFE9595829}"/>
              </a:ext>
            </a:extLst>
          </p:cNvPr>
          <p:cNvGrpSpPr/>
          <p:nvPr/>
        </p:nvGrpSpPr>
        <p:grpSpPr>
          <a:xfrm>
            <a:off x="7598352" y="1505796"/>
            <a:ext cx="3693979" cy="3693979"/>
            <a:chOff x="5372210" y="1607899"/>
            <a:chExt cx="3693979" cy="3693979"/>
          </a:xfrm>
        </p:grpSpPr>
        <p:sp>
          <p:nvSpPr>
            <p:cNvPr id="20" name="Block Arc 19">
              <a:extLst>
                <a:ext uri="{FF2B5EF4-FFF2-40B4-BE49-F238E27FC236}">
                  <a16:creationId xmlns:a16="http://schemas.microsoft.com/office/drawing/2014/main" id="{38502D4F-F01E-4E51-867B-82F4EB0347B4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1953944"/>
                <a:gd name="adj3" fmla="val 2696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Block Arc 20">
              <a:extLst>
                <a:ext uri="{FF2B5EF4-FFF2-40B4-BE49-F238E27FC236}">
                  <a16:creationId xmlns:a16="http://schemas.microsoft.com/office/drawing/2014/main" id="{DEED8D4E-A04D-4379-A853-DB55D620B136}"/>
                </a:ext>
              </a:extLst>
            </p:cNvPr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14691476"/>
                <a:gd name="adj2" fmla="val 4156081"/>
                <a:gd name="adj3" fmla="val 26923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86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08CD9FF1-7503-4A23-99E5-70A8F21AC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our advertising can have instant impact 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473694E-E388-4105-AD35-90D70A1AB9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7463866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Cinema is part of a wider trip out of the family home so you can reach Main shoppers with children before they go on to the shops.</a:t>
            </a: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CB26355-EA96-4D34-BDDC-C90FB9F30D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79922" y="7257166"/>
            <a:ext cx="7931358" cy="123111"/>
          </a:xfrm>
        </p:spPr>
        <p:txBody>
          <a:bodyPr/>
          <a:lstStyle/>
          <a:p>
            <a:r>
              <a:rPr lang="en-US" dirty="0"/>
              <a:t>Source: FAME 2018. Activities do immediately after / on same day as cinema visit. Index vs. average UK cinemagoer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9CE9424-7780-214F-9F97-4ADAAFCEEB81}"/>
              </a:ext>
            </a:extLst>
          </p:cNvPr>
          <p:cNvGrpSpPr/>
          <p:nvPr/>
        </p:nvGrpSpPr>
        <p:grpSpPr>
          <a:xfrm>
            <a:off x="1081901" y="1941995"/>
            <a:ext cx="3477969" cy="4284619"/>
            <a:chOff x="848221" y="1972475"/>
            <a:chExt cx="3477969" cy="4284619"/>
          </a:xfrm>
        </p:grpSpPr>
        <p:sp>
          <p:nvSpPr>
            <p:cNvPr id="41" name="Text Placeholder 18">
              <a:extLst>
                <a:ext uri="{FF2B5EF4-FFF2-40B4-BE49-F238E27FC236}">
                  <a16:creationId xmlns:a16="http://schemas.microsoft.com/office/drawing/2014/main" id="{0A574C7B-19BA-4B65-9419-545424F4CFE0}"/>
                </a:ext>
              </a:extLst>
            </p:cNvPr>
            <p:cNvSpPr txBox="1">
              <a:spLocks/>
            </p:cNvSpPr>
            <p:nvPr/>
          </p:nvSpPr>
          <p:spPr>
            <a:xfrm>
              <a:off x="1943156" y="4665942"/>
              <a:ext cx="1288099" cy="615553"/>
            </a:xfrm>
            <a:prstGeom prst="rect">
              <a:avLst/>
            </a:prstGeom>
          </p:spPr>
          <p:txBody>
            <a:bodyPr/>
            <a:lstStyle>
              <a:lvl1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000" b="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645074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5997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6920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87842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 typeface="Arial"/>
                <a:buNone/>
                <a:tabLst/>
                <a:defRPr/>
              </a:pPr>
              <a:r>
                <a:rPr lang="en-US" sz="4400" b="0" dirty="0">
                  <a:latin typeface="Impact"/>
                </a:rPr>
                <a:t>59</a:t>
              </a:r>
              <a:r>
                <a:rPr kumimoji="0" lang="en-US" sz="4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mpact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42" name="Text Placeholder 20">
              <a:extLst>
                <a:ext uri="{FF2B5EF4-FFF2-40B4-BE49-F238E27FC236}">
                  <a16:creationId xmlns:a16="http://schemas.microsoft.com/office/drawing/2014/main" id="{4D32F80A-522C-4907-867A-963AB2981BC7}"/>
                </a:ext>
              </a:extLst>
            </p:cNvPr>
            <p:cNvSpPr txBox="1">
              <a:spLocks/>
            </p:cNvSpPr>
            <p:nvPr/>
          </p:nvSpPr>
          <p:spPr>
            <a:xfrm>
              <a:off x="848221" y="5590245"/>
              <a:ext cx="3477969" cy="666849"/>
            </a:xfrm>
            <a:prstGeom prst="rect">
              <a:avLst/>
            </a:prstGeom>
          </p:spPr>
          <p:txBody>
            <a:bodyPr/>
            <a:lstStyle>
              <a:lvl1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000" b="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645074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5997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6920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87842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8A8A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o for food and/or drink</a:t>
              </a:r>
              <a:r>
                <a:rPr kumimoji="0" lang="en-US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8A8A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  <a:p>
              <a:pPr marL="0" marR="0" lvl="0" indent="0" algn="ctr" defTabSz="961844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rgbClr val="8A8A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Index: 156)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36C853F9-C917-4DE4-B7F1-5245C5E196BA}"/>
                </a:ext>
              </a:extLst>
            </p:cNvPr>
            <p:cNvGrpSpPr/>
            <p:nvPr/>
          </p:nvGrpSpPr>
          <p:grpSpPr>
            <a:xfrm>
              <a:off x="1396411" y="1972475"/>
              <a:ext cx="2381589" cy="2384717"/>
              <a:chOff x="1127345" y="2111565"/>
              <a:chExt cx="2160000" cy="2160000"/>
            </a:xfrm>
          </p:grpSpPr>
          <p:pic>
            <p:nvPicPr>
              <p:cNvPr id="26" name="Picture 25">
                <a:extLst>
                  <a:ext uri="{FF2B5EF4-FFF2-40B4-BE49-F238E27FC236}">
                    <a16:creationId xmlns:a16="http://schemas.microsoft.com/office/drawing/2014/main" id="{BD02DDD7-94A0-466C-93CC-D260A8431F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127345" y="2111565"/>
                <a:ext cx="2160000" cy="2160000"/>
              </a:xfrm>
              <a:prstGeom prst="rect">
                <a:avLst/>
              </a:prstGeom>
            </p:spPr>
          </p:pic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D8F592D6-89EC-4425-A2A7-DF309C571B78}"/>
                  </a:ext>
                </a:extLst>
              </p:cNvPr>
              <p:cNvGrpSpPr/>
              <p:nvPr/>
            </p:nvGrpSpPr>
            <p:grpSpPr>
              <a:xfrm>
                <a:off x="1366147" y="2411506"/>
                <a:ext cx="1713496" cy="1713496"/>
                <a:chOff x="1311394" y="2557051"/>
                <a:chExt cx="1528910" cy="1528910"/>
              </a:xfrm>
            </p:grpSpPr>
            <p:sp>
              <p:nvSpPr>
                <p:cNvPr id="28" name="Oval 27">
                  <a:extLst>
                    <a:ext uri="{FF2B5EF4-FFF2-40B4-BE49-F238E27FC236}">
                      <a16:creationId xmlns:a16="http://schemas.microsoft.com/office/drawing/2014/main" id="{A84CE886-0CB0-4139-BAE3-9F9178C98D49}"/>
                    </a:ext>
                  </a:extLst>
                </p:cNvPr>
                <p:cNvSpPr/>
                <p:nvPr/>
              </p:nvSpPr>
              <p:spPr>
                <a:xfrm>
                  <a:off x="1311394" y="2557051"/>
                  <a:ext cx="1528910" cy="1528910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lIns="0" tIns="0" rIns="0" bIns="0" rtlCol="0" anchor="ctr"/>
                <a:lstStyle/>
                <a:p>
                  <a:pPr algn="ctr"/>
                  <a:endParaRPr lang="en-US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9" name="Freeform 18">
                  <a:extLst>
                    <a:ext uri="{FF2B5EF4-FFF2-40B4-BE49-F238E27FC236}">
                      <a16:creationId xmlns:a16="http://schemas.microsoft.com/office/drawing/2014/main" id="{4CF5A0F6-9013-4657-86EE-09C56678D53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529117" y="2741994"/>
                  <a:ext cx="1093464" cy="957606"/>
                </a:xfrm>
                <a:custGeom>
                  <a:avLst/>
                  <a:gdLst>
                    <a:gd name="T0" fmla="*/ 70 w 1658"/>
                    <a:gd name="T1" fmla="*/ 327 h 1451"/>
                    <a:gd name="T2" fmla="*/ 276 w 1658"/>
                    <a:gd name="T3" fmla="*/ 135 h 1451"/>
                    <a:gd name="T4" fmla="*/ 663 w 1658"/>
                    <a:gd name="T5" fmla="*/ 10 h 1451"/>
                    <a:gd name="T6" fmla="*/ 1187 w 1658"/>
                    <a:gd name="T7" fmla="*/ 51 h 1451"/>
                    <a:gd name="T8" fmla="*/ 1577 w 1658"/>
                    <a:gd name="T9" fmla="*/ 308 h 1451"/>
                    <a:gd name="T10" fmla="*/ 1653 w 1658"/>
                    <a:gd name="T11" fmla="*/ 552 h 1451"/>
                    <a:gd name="T12" fmla="*/ 1473 w 1658"/>
                    <a:gd name="T13" fmla="*/ 648 h 1451"/>
                    <a:gd name="T14" fmla="*/ 1353 w 1658"/>
                    <a:gd name="T15" fmla="*/ 766 h 1451"/>
                    <a:gd name="T16" fmla="*/ 1141 w 1658"/>
                    <a:gd name="T17" fmla="*/ 852 h 1451"/>
                    <a:gd name="T18" fmla="*/ 1161 w 1658"/>
                    <a:gd name="T19" fmla="*/ 639 h 1451"/>
                    <a:gd name="T20" fmla="*/ 1631 w 1658"/>
                    <a:gd name="T21" fmla="*/ 1242 h 1451"/>
                    <a:gd name="T22" fmla="*/ 1394 w 1658"/>
                    <a:gd name="T23" fmla="*/ 1450 h 1451"/>
                    <a:gd name="T24" fmla="*/ 90 w 1658"/>
                    <a:gd name="T25" fmla="*/ 1352 h 1451"/>
                    <a:gd name="T26" fmla="*/ 1653 w 1658"/>
                    <a:gd name="T27" fmla="*/ 1109 h 1451"/>
                    <a:gd name="T28" fmla="*/ 49 w 1658"/>
                    <a:gd name="T29" fmla="*/ 984 h 1451"/>
                    <a:gd name="T30" fmla="*/ 1 w 1658"/>
                    <a:gd name="T31" fmla="*/ 834 h 1451"/>
                    <a:gd name="T32" fmla="*/ 776 w 1658"/>
                    <a:gd name="T33" fmla="*/ 848 h 1451"/>
                    <a:gd name="T34" fmla="*/ 1189 w 1658"/>
                    <a:gd name="T35" fmla="*/ 944 h 1451"/>
                    <a:gd name="T36" fmla="*/ 1470 w 1658"/>
                    <a:gd name="T37" fmla="*/ 781 h 1451"/>
                    <a:gd name="T38" fmla="*/ 1615 w 1658"/>
                    <a:gd name="T39" fmla="*/ 742 h 1451"/>
                    <a:gd name="T40" fmla="*/ 1658 w 1658"/>
                    <a:gd name="T41" fmla="*/ 876 h 1451"/>
                    <a:gd name="T42" fmla="*/ 1577 w 1658"/>
                    <a:gd name="T43" fmla="*/ 1006 h 1451"/>
                    <a:gd name="T44" fmla="*/ 353 w 1658"/>
                    <a:gd name="T45" fmla="*/ 269 h 1451"/>
                    <a:gd name="T46" fmla="*/ 315 w 1658"/>
                    <a:gd name="T47" fmla="*/ 180 h 1451"/>
                    <a:gd name="T48" fmla="*/ 245 w 1658"/>
                    <a:gd name="T49" fmla="*/ 236 h 1451"/>
                    <a:gd name="T50" fmla="*/ 550 w 1658"/>
                    <a:gd name="T51" fmla="*/ 449 h 1451"/>
                    <a:gd name="T52" fmla="*/ 587 w 1658"/>
                    <a:gd name="T53" fmla="*/ 360 h 1451"/>
                    <a:gd name="T54" fmla="*/ 490 w 1658"/>
                    <a:gd name="T55" fmla="*/ 360 h 1451"/>
                    <a:gd name="T56" fmla="*/ 526 w 1658"/>
                    <a:gd name="T57" fmla="*/ 449 h 1451"/>
                    <a:gd name="T58" fmla="*/ 640 w 1658"/>
                    <a:gd name="T59" fmla="*/ 133 h 1451"/>
                    <a:gd name="T60" fmla="*/ 570 w 1658"/>
                    <a:gd name="T61" fmla="*/ 75 h 1451"/>
                    <a:gd name="T62" fmla="*/ 534 w 1658"/>
                    <a:gd name="T63" fmla="*/ 166 h 1451"/>
                    <a:gd name="T64" fmla="*/ 774 w 1658"/>
                    <a:gd name="T65" fmla="*/ 313 h 1451"/>
                    <a:gd name="T66" fmla="*/ 755 w 1658"/>
                    <a:gd name="T67" fmla="*/ 219 h 1451"/>
                    <a:gd name="T68" fmla="*/ 673 w 1658"/>
                    <a:gd name="T69" fmla="*/ 272 h 1451"/>
                    <a:gd name="T70" fmla="*/ 923 w 1658"/>
                    <a:gd name="T71" fmla="*/ 351 h 1451"/>
                    <a:gd name="T72" fmla="*/ 868 w 1658"/>
                    <a:gd name="T73" fmla="*/ 432 h 1451"/>
                    <a:gd name="T74" fmla="*/ 964 w 1658"/>
                    <a:gd name="T75" fmla="*/ 450 h 1451"/>
                    <a:gd name="T76" fmla="*/ 945 w 1658"/>
                    <a:gd name="T77" fmla="*/ 356 h 1451"/>
                    <a:gd name="T78" fmla="*/ 954 w 1658"/>
                    <a:gd name="T79" fmla="*/ 111 h 1451"/>
                    <a:gd name="T80" fmla="*/ 897 w 1658"/>
                    <a:gd name="T81" fmla="*/ 41 h 1451"/>
                    <a:gd name="T82" fmla="*/ 843 w 1658"/>
                    <a:gd name="T83" fmla="*/ 121 h 1451"/>
                    <a:gd name="T84" fmla="*/ 1048 w 1658"/>
                    <a:gd name="T85" fmla="*/ 303 h 1451"/>
                    <a:gd name="T86" fmla="*/ 1048 w 1658"/>
                    <a:gd name="T87" fmla="*/ 205 h 1451"/>
                    <a:gd name="T88" fmla="*/ 959 w 1658"/>
                    <a:gd name="T89" fmla="*/ 243 h 1451"/>
                    <a:gd name="T90" fmla="*/ 1173 w 1658"/>
                    <a:gd name="T91" fmla="*/ 226 h 1451"/>
                    <a:gd name="T92" fmla="*/ 1230 w 1658"/>
                    <a:gd name="T93" fmla="*/ 156 h 1451"/>
                    <a:gd name="T94" fmla="*/ 1141 w 1658"/>
                    <a:gd name="T95" fmla="*/ 120 h 1451"/>
                    <a:gd name="T96" fmla="*/ 1141 w 1658"/>
                    <a:gd name="T97" fmla="*/ 216 h 1451"/>
                    <a:gd name="T98" fmla="*/ 1452 w 1658"/>
                    <a:gd name="T99" fmla="*/ 307 h 1451"/>
                    <a:gd name="T100" fmla="*/ 1398 w 1658"/>
                    <a:gd name="T101" fmla="*/ 226 h 1451"/>
                    <a:gd name="T102" fmla="*/ 1341 w 1658"/>
                    <a:gd name="T103" fmla="*/ 296 h 1451"/>
                    <a:gd name="T104" fmla="*/ 1178 w 1658"/>
                    <a:gd name="T105" fmla="*/ 447 h 1451"/>
                    <a:gd name="T106" fmla="*/ 1274 w 1658"/>
                    <a:gd name="T107" fmla="*/ 466 h 1451"/>
                    <a:gd name="T108" fmla="*/ 1255 w 1658"/>
                    <a:gd name="T109" fmla="*/ 372 h 1451"/>
                    <a:gd name="T110" fmla="*/ 1173 w 1658"/>
                    <a:gd name="T111" fmla="*/ 425 h 1451"/>
                    <a:gd name="T112" fmla="*/ 349 w 1658"/>
                    <a:gd name="T113" fmla="*/ 425 h 1451"/>
                    <a:gd name="T114" fmla="*/ 269 w 1658"/>
                    <a:gd name="T115" fmla="*/ 372 h 1451"/>
                    <a:gd name="T116" fmla="*/ 250 w 1658"/>
                    <a:gd name="T117" fmla="*/ 466 h 1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658" h="1451">
                      <a:moveTo>
                        <a:pt x="5" y="550"/>
                      </a:moveTo>
                      <a:lnTo>
                        <a:pt x="5" y="550"/>
                      </a:lnTo>
                      <a:lnTo>
                        <a:pt x="7" y="521"/>
                      </a:lnTo>
                      <a:lnTo>
                        <a:pt x="10" y="490"/>
                      </a:lnTo>
                      <a:lnTo>
                        <a:pt x="15" y="462"/>
                      </a:lnTo>
                      <a:lnTo>
                        <a:pt x="22" y="433"/>
                      </a:lnTo>
                      <a:lnTo>
                        <a:pt x="31" y="406"/>
                      </a:lnTo>
                      <a:lnTo>
                        <a:pt x="43" y="379"/>
                      </a:lnTo>
                      <a:lnTo>
                        <a:pt x="55" y="353"/>
                      </a:lnTo>
                      <a:lnTo>
                        <a:pt x="70" y="327"/>
                      </a:lnTo>
                      <a:lnTo>
                        <a:pt x="70" y="327"/>
                      </a:lnTo>
                      <a:lnTo>
                        <a:pt x="70" y="327"/>
                      </a:lnTo>
                      <a:lnTo>
                        <a:pt x="87" y="303"/>
                      </a:lnTo>
                      <a:lnTo>
                        <a:pt x="104" y="279"/>
                      </a:lnTo>
                      <a:lnTo>
                        <a:pt x="125" y="255"/>
                      </a:lnTo>
                      <a:lnTo>
                        <a:pt x="145" y="233"/>
                      </a:lnTo>
                      <a:lnTo>
                        <a:pt x="169" y="212"/>
                      </a:lnTo>
                      <a:lnTo>
                        <a:pt x="193" y="192"/>
                      </a:lnTo>
                      <a:lnTo>
                        <a:pt x="219" y="171"/>
                      </a:lnTo>
                      <a:lnTo>
                        <a:pt x="246" y="154"/>
                      </a:lnTo>
                      <a:lnTo>
                        <a:pt x="246" y="154"/>
                      </a:lnTo>
                      <a:lnTo>
                        <a:pt x="276" y="135"/>
                      </a:lnTo>
                      <a:lnTo>
                        <a:pt x="305" y="118"/>
                      </a:lnTo>
                      <a:lnTo>
                        <a:pt x="335" y="103"/>
                      </a:lnTo>
                      <a:lnTo>
                        <a:pt x="368" y="89"/>
                      </a:lnTo>
                      <a:lnTo>
                        <a:pt x="402" y="75"/>
                      </a:lnTo>
                      <a:lnTo>
                        <a:pt x="437" y="61"/>
                      </a:lnTo>
                      <a:lnTo>
                        <a:pt x="473" y="51"/>
                      </a:lnTo>
                      <a:lnTo>
                        <a:pt x="508" y="39"/>
                      </a:lnTo>
                      <a:lnTo>
                        <a:pt x="546" y="31"/>
                      </a:lnTo>
                      <a:lnTo>
                        <a:pt x="584" y="22"/>
                      </a:lnTo>
                      <a:lnTo>
                        <a:pt x="623" y="15"/>
                      </a:lnTo>
                      <a:lnTo>
                        <a:pt x="663" y="10"/>
                      </a:lnTo>
                      <a:lnTo>
                        <a:pt x="704" y="5"/>
                      </a:lnTo>
                      <a:lnTo>
                        <a:pt x="745" y="1"/>
                      </a:lnTo>
                      <a:lnTo>
                        <a:pt x="788" y="0"/>
                      </a:lnTo>
                      <a:lnTo>
                        <a:pt x="829" y="0"/>
                      </a:lnTo>
                      <a:lnTo>
                        <a:pt x="829" y="0"/>
                      </a:lnTo>
                      <a:lnTo>
                        <a:pt x="892" y="1"/>
                      </a:lnTo>
                      <a:lnTo>
                        <a:pt x="956" y="5"/>
                      </a:lnTo>
                      <a:lnTo>
                        <a:pt x="1016" y="13"/>
                      </a:lnTo>
                      <a:lnTo>
                        <a:pt x="1074" y="22"/>
                      </a:lnTo>
                      <a:lnTo>
                        <a:pt x="1132" y="36"/>
                      </a:lnTo>
                      <a:lnTo>
                        <a:pt x="1187" y="51"/>
                      </a:lnTo>
                      <a:lnTo>
                        <a:pt x="1240" y="68"/>
                      </a:lnTo>
                      <a:lnTo>
                        <a:pt x="1290" y="89"/>
                      </a:lnTo>
                      <a:lnTo>
                        <a:pt x="1290" y="89"/>
                      </a:lnTo>
                      <a:lnTo>
                        <a:pt x="1338" y="111"/>
                      </a:lnTo>
                      <a:lnTo>
                        <a:pt x="1384" y="135"/>
                      </a:lnTo>
                      <a:lnTo>
                        <a:pt x="1427" y="163"/>
                      </a:lnTo>
                      <a:lnTo>
                        <a:pt x="1466" y="192"/>
                      </a:lnTo>
                      <a:lnTo>
                        <a:pt x="1502" y="223"/>
                      </a:lnTo>
                      <a:lnTo>
                        <a:pt x="1535" y="255"/>
                      </a:lnTo>
                      <a:lnTo>
                        <a:pt x="1564" y="291"/>
                      </a:lnTo>
                      <a:lnTo>
                        <a:pt x="1577" y="308"/>
                      </a:lnTo>
                      <a:lnTo>
                        <a:pt x="1589" y="327"/>
                      </a:lnTo>
                      <a:lnTo>
                        <a:pt x="1589" y="327"/>
                      </a:lnTo>
                      <a:lnTo>
                        <a:pt x="1603" y="353"/>
                      </a:lnTo>
                      <a:lnTo>
                        <a:pt x="1617" y="379"/>
                      </a:lnTo>
                      <a:lnTo>
                        <a:pt x="1627" y="406"/>
                      </a:lnTo>
                      <a:lnTo>
                        <a:pt x="1637" y="433"/>
                      </a:lnTo>
                      <a:lnTo>
                        <a:pt x="1644" y="462"/>
                      </a:lnTo>
                      <a:lnTo>
                        <a:pt x="1649" y="490"/>
                      </a:lnTo>
                      <a:lnTo>
                        <a:pt x="1653" y="521"/>
                      </a:lnTo>
                      <a:lnTo>
                        <a:pt x="1653" y="550"/>
                      </a:lnTo>
                      <a:lnTo>
                        <a:pt x="1653" y="552"/>
                      </a:lnTo>
                      <a:lnTo>
                        <a:pt x="1653" y="552"/>
                      </a:lnTo>
                      <a:lnTo>
                        <a:pt x="1158" y="552"/>
                      </a:lnTo>
                      <a:lnTo>
                        <a:pt x="5" y="550"/>
                      </a:lnTo>
                      <a:lnTo>
                        <a:pt x="5" y="552"/>
                      </a:lnTo>
                      <a:lnTo>
                        <a:pt x="5" y="552"/>
                      </a:lnTo>
                      <a:lnTo>
                        <a:pt x="5" y="550"/>
                      </a:lnTo>
                      <a:lnTo>
                        <a:pt x="5" y="550"/>
                      </a:lnTo>
                      <a:close/>
                      <a:moveTo>
                        <a:pt x="1161" y="639"/>
                      </a:moveTo>
                      <a:lnTo>
                        <a:pt x="1480" y="639"/>
                      </a:lnTo>
                      <a:lnTo>
                        <a:pt x="1473" y="648"/>
                      </a:lnTo>
                      <a:lnTo>
                        <a:pt x="1473" y="648"/>
                      </a:lnTo>
                      <a:lnTo>
                        <a:pt x="1470" y="653"/>
                      </a:lnTo>
                      <a:lnTo>
                        <a:pt x="1468" y="654"/>
                      </a:lnTo>
                      <a:lnTo>
                        <a:pt x="1468" y="654"/>
                      </a:lnTo>
                      <a:lnTo>
                        <a:pt x="1442" y="682"/>
                      </a:lnTo>
                      <a:lnTo>
                        <a:pt x="1416" y="709"/>
                      </a:lnTo>
                      <a:lnTo>
                        <a:pt x="1413" y="713"/>
                      </a:lnTo>
                      <a:lnTo>
                        <a:pt x="1413" y="713"/>
                      </a:lnTo>
                      <a:lnTo>
                        <a:pt x="1406" y="720"/>
                      </a:lnTo>
                      <a:lnTo>
                        <a:pt x="1406" y="720"/>
                      </a:lnTo>
                      <a:lnTo>
                        <a:pt x="1380" y="744"/>
                      </a:lnTo>
                      <a:lnTo>
                        <a:pt x="1353" y="766"/>
                      </a:lnTo>
                      <a:lnTo>
                        <a:pt x="1322" y="788"/>
                      </a:lnTo>
                      <a:lnTo>
                        <a:pt x="1290" y="809"/>
                      </a:lnTo>
                      <a:lnTo>
                        <a:pt x="1255" y="826"/>
                      </a:lnTo>
                      <a:lnTo>
                        <a:pt x="1237" y="833"/>
                      </a:lnTo>
                      <a:lnTo>
                        <a:pt x="1218" y="840"/>
                      </a:lnTo>
                      <a:lnTo>
                        <a:pt x="1199" y="845"/>
                      </a:lnTo>
                      <a:lnTo>
                        <a:pt x="1180" y="848"/>
                      </a:lnTo>
                      <a:lnTo>
                        <a:pt x="1161" y="852"/>
                      </a:lnTo>
                      <a:lnTo>
                        <a:pt x="1141" y="852"/>
                      </a:lnTo>
                      <a:lnTo>
                        <a:pt x="1141" y="852"/>
                      </a:lnTo>
                      <a:lnTo>
                        <a:pt x="1141" y="852"/>
                      </a:lnTo>
                      <a:lnTo>
                        <a:pt x="1120" y="852"/>
                      </a:lnTo>
                      <a:lnTo>
                        <a:pt x="1098" y="850"/>
                      </a:lnTo>
                      <a:lnTo>
                        <a:pt x="1076" y="845"/>
                      </a:lnTo>
                      <a:lnTo>
                        <a:pt x="1050" y="840"/>
                      </a:lnTo>
                      <a:lnTo>
                        <a:pt x="993" y="826"/>
                      </a:lnTo>
                      <a:lnTo>
                        <a:pt x="930" y="805"/>
                      </a:lnTo>
                      <a:lnTo>
                        <a:pt x="930" y="805"/>
                      </a:lnTo>
                      <a:lnTo>
                        <a:pt x="872" y="785"/>
                      </a:lnTo>
                      <a:lnTo>
                        <a:pt x="805" y="759"/>
                      </a:lnTo>
                      <a:lnTo>
                        <a:pt x="789" y="752"/>
                      </a:lnTo>
                      <a:lnTo>
                        <a:pt x="1161" y="639"/>
                      </a:lnTo>
                      <a:close/>
                      <a:moveTo>
                        <a:pt x="298" y="807"/>
                      </a:moveTo>
                      <a:lnTo>
                        <a:pt x="147" y="639"/>
                      </a:lnTo>
                      <a:lnTo>
                        <a:pt x="853" y="639"/>
                      </a:lnTo>
                      <a:lnTo>
                        <a:pt x="853" y="639"/>
                      </a:lnTo>
                      <a:lnTo>
                        <a:pt x="298" y="807"/>
                      </a:lnTo>
                      <a:close/>
                      <a:moveTo>
                        <a:pt x="1653" y="1109"/>
                      </a:moveTo>
                      <a:lnTo>
                        <a:pt x="1653" y="1109"/>
                      </a:lnTo>
                      <a:lnTo>
                        <a:pt x="1651" y="1143"/>
                      </a:lnTo>
                      <a:lnTo>
                        <a:pt x="1648" y="1177"/>
                      </a:lnTo>
                      <a:lnTo>
                        <a:pt x="1641" y="1210"/>
                      </a:lnTo>
                      <a:lnTo>
                        <a:pt x="1631" y="1242"/>
                      </a:lnTo>
                      <a:lnTo>
                        <a:pt x="1619" y="1271"/>
                      </a:lnTo>
                      <a:lnTo>
                        <a:pt x="1605" y="1301"/>
                      </a:lnTo>
                      <a:lnTo>
                        <a:pt x="1588" y="1326"/>
                      </a:lnTo>
                      <a:lnTo>
                        <a:pt x="1569" y="1352"/>
                      </a:lnTo>
                      <a:lnTo>
                        <a:pt x="1548" y="1374"/>
                      </a:lnTo>
                      <a:lnTo>
                        <a:pt x="1526" y="1393"/>
                      </a:lnTo>
                      <a:lnTo>
                        <a:pt x="1502" y="1410"/>
                      </a:lnTo>
                      <a:lnTo>
                        <a:pt x="1478" y="1426"/>
                      </a:lnTo>
                      <a:lnTo>
                        <a:pt x="1451" y="1436"/>
                      </a:lnTo>
                      <a:lnTo>
                        <a:pt x="1423" y="1445"/>
                      </a:lnTo>
                      <a:lnTo>
                        <a:pt x="1394" y="1450"/>
                      </a:lnTo>
                      <a:lnTo>
                        <a:pt x="1365" y="1451"/>
                      </a:lnTo>
                      <a:lnTo>
                        <a:pt x="293" y="1451"/>
                      </a:lnTo>
                      <a:lnTo>
                        <a:pt x="293" y="1451"/>
                      </a:lnTo>
                      <a:lnTo>
                        <a:pt x="264" y="1450"/>
                      </a:lnTo>
                      <a:lnTo>
                        <a:pt x="234" y="1445"/>
                      </a:lnTo>
                      <a:lnTo>
                        <a:pt x="207" y="1436"/>
                      </a:lnTo>
                      <a:lnTo>
                        <a:pt x="181" y="1426"/>
                      </a:lnTo>
                      <a:lnTo>
                        <a:pt x="156" y="1410"/>
                      </a:lnTo>
                      <a:lnTo>
                        <a:pt x="132" y="1393"/>
                      </a:lnTo>
                      <a:lnTo>
                        <a:pt x="109" y="1374"/>
                      </a:lnTo>
                      <a:lnTo>
                        <a:pt x="90" y="1352"/>
                      </a:lnTo>
                      <a:lnTo>
                        <a:pt x="72" y="1326"/>
                      </a:lnTo>
                      <a:lnTo>
                        <a:pt x="55" y="1301"/>
                      </a:lnTo>
                      <a:lnTo>
                        <a:pt x="41" y="1271"/>
                      </a:lnTo>
                      <a:lnTo>
                        <a:pt x="29" y="1242"/>
                      </a:lnTo>
                      <a:lnTo>
                        <a:pt x="19" y="1210"/>
                      </a:lnTo>
                      <a:lnTo>
                        <a:pt x="12" y="1177"/>
                      </a:lnTo>
                      <a:lnTo>
                        <a:pt x="7" y="1143"/>
                      </a:lnTo>
                      <a:lnTo>
                        <a:pt x="5" y="1109"/>
                      </a:lnTo>
                      <a:lnTo>
                        <a:pt x="1653" y="1109"/>
                      </a:lnTo>
                      <a:lnTo>
                        <a:pt x="1653" y="1109"/>
                      </a:lnTo>
                      <a:lnTo>
                        <a:pt x="1653" y="1109"/>
                      </a:lnTo>
                      <a:lnTo>
                        <a:pt x="1653" y="1109"/>
                      </a:lnTo>
                      <a:close/>
                      <a:moveTo>
                        <a:pt x="1526" y="1020"/>
                      </a:moveTo>
                      <a:lnTo>
                        <a:pt x="133" y="1020"/>
                      </a:lnTo>
                      <a:lnTo>
                        <a:pt x="133" y="1020"/>
                      </a:lnTo>
                      <a:lnTo>
                        <a:pt x="120" y="1018"/>
                      </a:lnTo>
                      <a:lnTo>
                        <a:pt x="106" y="1016"/>
                      </a:lnTo>
                      <a:lnTo>
                        <a:pt x="94" y="1013"/>
                      </a:lnTo>
                      <a:lnTo>
                        <a:pt x="82" y="1008"/>
                      </a:lnTo>
                      <a:lnTo>
                        <a:pt x="70" y="1001"/>
                      </a:lnTo>
                      <a:lnTo>
                        <a:pt x="60" y="992"/>
                      </a:lnTo>
                      <a:lnTo>
                        <a:pt x="49" y="984"/>
                      </a:lnTo>
                      <a:lnTo>
                        <a:pt x="39" y="973"/>
                      </a:lnTo>
                      <a:lnTo>
                        <a:pt x="31" y="961"/>
                      </a:lnTo>
                      <a:lnTo>
                        <a:pt x="24" y="949"/>
                      </a:lnTo>
                      <a:lnTo>
                        <a:pt x="17" y="937"/>
                      </a:lnTo>
                      <a:lnTo>
                        <a:pt x="10" y="924"/>
                      </a:lnTo>
                      <a:lnTo>
                        <a:pt x="7" y="908"/>
                      </a:lnTo>
                      <a:lnTo>
                        <a:pt x="3" y="893"/>
                      </a:lnTo>
                      <a:lnTo>
                        <a:pt x="1" y="877"/>
                      </a:lnTo>
                      <a:lnTo>
                        <a:pt x="0" y="860"/>
                      </a:lnTo>
                      <a:lnTo>
                        <a:pt x="0" y="860"/>
                      </a:lnTo>
                      <a:lnTo>
                        <a:pt x="1" y="834"/>
                      </a:lnTo>
                      <a:lnTo>
                        <a:pt x="7" y="810"/>
                      </a:lnTo>
                      <a:lnTo>
                        <a:pt x="15" y="788"/>
                      </a:lnTo>
                      <a:lnTo>
                        <a:pt x="25" y="768"/>
                      </a:lnTo>
                      <a:lnTo>
                        <a:pt x="39" y="749"/>
                      </a:lnTo>
                      <a:lnTo>
                        <a:pt x="55" y="732"/>
                      </a:lnTo>
                      <a:lnTo>
                        <a:pt x="72" y="720"/>
                      </a:lnTo>
                      <a:lnTo>
                        <a:pt x="90" y="709"/>
                      </a:lnTo>
                      <a:lnTo>
                        <a:pt x="270" y="910"/>
                      </a:lnTo>
                      <a:lnTo>
                        <a:pt x="649" y="795"/>
                      </a:lnTo>
                      <a:lnTo>
                        <a:pt x="649" y="795"/>
                      </a:lnTo>
                      <a:lnTo>
                        <a:pt x="776" y="848"/>
                      </a:lnTo>
                      <a:lnTo>
                        <a:pt x="776" y="848"/>
                      </a:lnTo>
                      <a:lnTo>
                        <a:pt x="875" y="886"/>
                      </a:lnTo>
                      <a:lnTo>
                        <a:pt x="925" y="903"/>
                      </a:lnTo>
                      <a:lnTo>
                        <a:pt x="971" y="918"/>
                      </a:lnTo>
                      <a:lnTo>
                        <a:pt x="1017" y="930"/>
                      </a:lnTo>
                      <a:lnTo>
                        <a:pt x="1060" y="939"/>
                      </a:lnTo>
                      <a:lnTo>
                        <a:pt x="1101" y="946"/>
                      </a:lnTo>
                      <a:lnTo>
                        <a:pt x="1141" y="948"/>
                      </a:lnTo>
                      <a:lnTo>
                        <a:pt x="1141" y="948"/>
                      </a:lnTo>
                      <a:lnTo>
                        <a:pt x="1165" y="948"/>
                      </a:lnTo>
                      <a:lnTo>
                        <a:pt x="1189" y="944"/>
                      </a:lnTo>
                      <a:lnTo>
                        <a:pt x="1213" y="939"/>
                      </a:lnTo>
                      <a:lnTo>
                        <a:pt x="1237" y="932"/>
                      </a:lnTo>
                      <a:lnTo>
                        <a:pt x="1259" y="925"/>
                      </a:lnTo>
                      <a:lnTo>
                        <a:pt x="1281" y="917"/>
                      </a:lnTo>
                      <a:lnTo>
                        <a:pt x="1303" y="906"/>
                      </a:lnTo>
                      <a:lnTo>
                        <a:pt x="1324" y="894"/>
                      </a:lnTo>
                      <a:lnTo>
                        <a:pt x="1344" y="882"/>
                      </a:lnTo>
                      <a:lnTo>
                        <a:pt x="1365" y="869"/>
                      </a:lnTo>
                      <a:lnTo>
                        <a:pt x="1403" y="841"/>
                      </a:lnTo>
                      <a:lnTo>
                        <a:pt x="1437" y="810"/>
                      </a:lnTo>
                      <a:lnTo>
                        <a:pt x="1470" y="781"/>
                      </a:lnTo>
                      <a:lnTo>
                        <a:pt x="1470" y="781"/>
                      </a:lnTo>
                      <a:lnTo>
                        <a:pt x="1507" y="740"/>
                      </a:lnTo>
                      <a:lnTo>
                        <a:pt x="1540" y="701"/>
                      </a:lnTo>
                      <a:lnTo>
                        <a:pt x="1540" y="701"/>
                      </a:lnTo>
                      <a:lnTo>
                        <a:pt x="1552" y="704"/>
                      </a:lnTo>
                      <a:lnTo>
                        <a:pt x="1564" y="708"/>
                      </a:lnTo>
                      <a:lnTo>
                        <a:pt x="1576" y="713"/>
                      </a:lnTo>
                      <a:lnTo>
                        <a:pt x="1586" y="718"/>
                      </a:lnTo>
                      <a:lnTo>
                        <a:pt x="1596" y="725"/>
                      </a:lnTo>
                      <a:lnTo>
                        <a:pt x="1607" y="733"/>
                      </a:lnTo>
                      <a:lnTo>
                        <a:pt x="1615" y="742"/>
                      </a:lnTo>
                      <a:lnTo>
                        <a:pt x="1624" y="752"/>
                      </a:lnTo>
                      <a:lnTo>
                        <a:pt x="1632" y="764"/>
                      </a:lnTo>
                      <a:lnTo>
                        <a:pt x="1639" y="774"/>
                      </a:lnTo>
                      <a:lnTo>
                        <a:pt x="1644" y="788"/>
                      </a:lnTo>
                      <a:lnTo>
                        <a:pt x="1649" y="800"/>
                      </a:lnTo>
                      <a:lnTo>
                        <a:pt x="1653" y="814"/>
                      </a:lnTo>
                      <a:lnTo>
                        <a:pt x="1656" y="829"/>
                      </a:lnTo>
                      <a:lnTo>
                        <a:pt x="1658" y="843"/>
                      </a:lnTo>
                      <a:lnTo>
                        <a:pt x="1658" y="858"/>
                      </a:lnTo>
                      <a:lnTo>
                        <a:pt x="1658" y="858"/>
                      </a:lnTo>
                      <a:lnTo>
                        <a:pt x="1658" y="876"/>
                      </a:lnTo>
                      <a:lnTo>
                        <a:pt x="1656" y="891"/>
                      </a:lnTo>
                      <a:lnTo>
                        <a:pt x="1653" y="906"/>
                      </a:lnTo>
                      <a:lnTo>
                        <a:pt x="1648" y="922"/>
                      </a:lnTo>
                      <a:lnTo>
                        <a:pt x="1643" y="936"/>
                      </a:lnTo>
                      <a:lnTo>
                        <a:pt x="1636" y="948"/>
                      </a:lnTo>
                      <a:lnTo>
                        <a:pt x="1629" y="961"/>
                      </a:lnTo>
                      <a:lnTo>
                        <a:pt x="1620" y="972"/>
                      </a:lnTo>
                      <a:lnTo>
                        <a:pt x="1610" y="982"/>
                      </a:lnTo>
                      <a:lnTo>
                        <a:pt x="1600" y="992"/>
                      </a:lnTo>
                      <a:lnTo>
                        <a:pt x="1589" y="999"/>
                      </a:lnTo>
                      <a:lnTo>
                        <a:pt x="1577" y="1006"/>
                      </a:lnTo>
                      <a:lnTo>
                        <a:pt x="1565" y="1013"/>
                      </a:lnTo>
                      <a:lnTo>
                        <a:pt x="1552" y="1016"/>
                      </a:lnTo>
                      <a:lnTo>
                        <a:pt x="1540" y="1018"/>
                      </a:lnTo>
                      <a:lnTo>
                        <a:pt x="1526" y="1020"/>
                      </a:lnTo>
                      <a:close/>
                      <a:moveTo>
                        <a:pt x="303" y="295"/>
                      </a:moveTo>
                      <a:lnTo>
                        <a:pt x="303" y="295"/>
                      </a:lnTo>
                      <a:lnTo>
                        <a:pt x="315" y="293"/>
                      </a:lnTo>
                      <a:lnTo>
                        <a:pt x="327" y="289"/>
                      </a:lnTo>
                      <a:lnTo>
                        <a:pt x="337" y="284"/>
                      </a:lnTo>
                      <a:lnTo>
                        <a:pt x="346" y="277"/>
                      </a:lnTo>
                      <a:lnTo>
                        <a:pt x="353" y="269"/>
                      </a:lnTo>
                      <a:lnTo>
                        <a:pt x="358" y="259"/>
                      </a:lnTo>
                      <a:lnTo>
                        <a:pt x="361" y="248"/>
                      </a:lnTo>
                      <a:lnTo>
                        <a:pt x="363" y="236"/>
                      </a:lnTo>
                      <a:lnTo>
                        <a:pt x="363" y="236"/>
                      </a:lnTo>
                      <a:lnTo>
                        <a:pt x="361" y="224"/>
                      </a:lnTo>
                      <a:lnTo>
                        <a:pt x="358" y="214"/>
                      </a:lnTo>
                      <a:lnTo>
                        <a:pt x="353" y="204"/>
                      </a:lnTo>
                      <a:lnTo>
                        <a:pt x="346" y="195"/>
                      </a:lnTo>
                      <a:lnTo>
                        <a:pt x="337" y="188"/>
                      </a:lnTo>
                      <a:lnTo>
                        <a:pt x="327" y="183"/>
                      </a:lnTo>
                      <a:lnTo>
                        <a:pt x="315" y="180"/>
                      </a:lnTo>
                      <a:lnTo>
                        <a:pt x="303" y="178"/>
                      </a:lnTo>
                      <a:lnTo>
                        <a:pt x="303" y="178"/>
                      </a:lnTo>
                      <a:lnTo>
                        <a:pt x="291" y="180"/>
                      </a:lnTo>
                      <a:lnTo>
                        <a:pt x="281" y="183"/>
                      </a:lnTo>
                      <a:lnTo>
                        <a:pt x="270" y="188"/>
                      </a:lnTo>
                      <a:lnTo>
                        <a:pt x="262" y="195"/>
                      </a:lnTo>
                      <a:lnTo>
                        <a:pt x="255" y="204"/>
                      </a:lnTo>
                      <a:lnTo>
                        <a:pt x="250" y="214"/>
                      </a:lnTo>
                      <a:lnTo>
                        <a:pt x="246" y="224"/>
                      </a:lnTo>
                      <a:lnTo>
                        <a:pt x="245" y="236"/>
                      </a:lnTo>
                      <a:lnTo>
                        <a:pt x="245" y="236"/>
                      </a:lnTo>
                      <a:lnTo>
                        <a:pt x="246" y="248"/>
                      </a:lnTo>
                      <a:lnTo>
                        <a:pt x="250" y="259"/>
                      </a:lnTo>
                      <a:lnTo>
                        <a:pt x="255" y="269"/>
                      </a:lnTo>
                      <a:lnTo>
                        <a:pt x="262" y="277"/>
                      </a:lnTo>
                      <a:lnTo>
                        <a:pt x="270" y="284"/>
                      </a:lnTo>
                      <a:lnTo>
                        <a:pt x="281" y="289"/>
                      </a:lnTo>
                      <a:lnTo>
                        <a:pt x="291" y="293"/>
                      </a:lnTo>
                      <a:lnTo>
                        <a:pt x="303" y="295"/>
                      </a:lnTo>
                      <a:close/>
                      <a:moveTo>
                        <a:pt x="538" y="450"/>
                      </a:moveTo>
                      <a:lnTo>
                        <a:pt x="538" y="450"/>
                      </a:lnTo>
                      <a:lnTo>
                        <a:pt x="550" y="449"/>
                      </a:lnTo>
                      <a:lnTo>
                        <a:pt x="560" y="445"/>
                      </a:lnTo>
                      <a:lnTo>
                        <a:pt x="570" y="440"/>
                      </a:lnTo>
                      <a:lnTo>
                        <a:pt x="579" y="433"/>
                      </a:lnTo>
                      <a:lnTo>
                        <a:pt x="587" y="425"/>
                      </a:lnTo>
                      <a:lnTo>
                        <a:pt x="592" y="415"/>
                      </a:lnTo>
                      <a:lnTo>
                        <a:pt x="596" y="403"/>
                      </a:lnTo>
                      <a:lnTo>
                        <a:pt x="596" y="392"/>
                      </a:lnTo>
                      <a:lnTo>
                        <a:pt x="596" y="392"/>
                      </a:lnTo>
                      <a:lnTo>
                        <a:pt x="596" y="380"/>
                      </a:lnTo>
                      <a:lnTo>
                        <a:pt x="592" y="368"/>
                      </a:lnTo>
                      <a:lnTo>
                        <a:pt x="587" y="360"/>
                      </a:lnTo>
                      <a:lnTo>
                        <a:pt x="579" y="351"/>
                      </a:lnTo>
                      <a:lnTo>
                        <a:pt x="570" y="343"/>
                      </a:lnTo>
                      <a:lnTo>
                        <a:pt x="560" y="337"/>
                      </a:lnTo>
                      <a:lnTo>
                        <a:pt x="550" y="334"/>
                      </a:lnTo>
                      <a:lnTo>
                        <a:pt x="538" y="334"/>
                      </a:lnTo>
                      <a:lnTo>
                        <a:pt x="538" y="334"/>
                      </a:lnTo>
                      <a:lnTo>
                        <a:pt x="526" y="334"/>
                      </a:lnTo>
                      <a:lnTo>
                        <a:pt x="515" y="337"/>
                      </a:lnTo>
                      <a:lnTo>
                        <a:pt x="505" y="343"/>
                      </a:lnTo>
                      <a:lnTo>
                        <a:pt x="496" y="351"/>
                      </a:lnTo>
                      <a:lnTo>
                        <a:pt x="490" y="360"/>
                      </a:lnTo>
                      <a:lnTo>
                        <a:pt x="485" y="368"/>
                      </a:lnTo>
                      <a:lnTo>
                        <a:pt x="481" y="380"/>
                      </a:lnTo>
                      <a:lnTo>
                        <a:pt x="479" y="392"/>
                      </a:lnTo>
                      <a:lnTo>
                        <a:pt x="479" y="392"/>
                      </a:lnTo>
                      <a:lnTo>
                        <a:pt x="481" y="403"/>
                      </a:lnTo>
                      <a:lnTo>
                        <a:pt x="485" y="415"/>
                      </a:lnTo>
                      <a:lnTo>
                        <a:pt x="490" y="425"/>
                      </a:lnTo>
                      <a:lnTo>
                        <a:pt x="496" y="433"/>
                      </a:lnTo>
                      <a:lnTo>
                        <a:pt x="505" y="440"/>
                      </a:lnTo>
                      <a:lnTo>
                        <a:pt x="515" y="445"/>
                      </a:lnTo>
                      <a:lnTo>
                        <a:pt x="526" y="449"/>
                      </a:lnTo>
                      <a:lnTo>
                        <a:pt x="538" y="450"/>
                      </a:lnTo>
                      <a:close/>
                      <a:moveTo>
                        <a:pt x="582" y="192"/>
                      </a:moveTo>
                      <a:lnTo>
                        <a:pt x="582" y="192"/>
                      </a:lnTo>
                      <a:lnTo>
                        <a:pt x="594" y="190"/>
                      </a:lnTo>
                      <a:lnTo>
                        <a:pt x="604" y="187"/>
                      </a:lnTo>
                      <a:lnTo>
                        <a:pt x="615" y="181"/>
                      </a:lnTo>
                      <a:lnTo>
                        <a:pt x="623" y="175"/>
                      </a:lnTo>
                      <a:lnTo>
                        <a:pt x="632" y="166"/>
                      </a:lnTo>
                      <a:lnTo>
                        <a:pt x="637" y="156"/>
                      </a:lnTo>
                      <a:lnTo>
                        <a:pt x="640" y="144"/>
                      </a:lnTo>
                      <a:lnTo>
                        <a:pt x="640" y="133"/>
                      </a:lnTo>
                      <a:lnTo>
                        <a:pt x="640" y="133"/>
                      </a:lnTo>
                      <a:lnTo>
                        <a:pt x="640" y="121"/>
                      </a:lnTo>
                      <a:lnTo>
                        <a:pt x="637" y="109"/>
                      </a:lnTo>
                      <a:lnTo>
                        <a:pt x="632" y="101"/>
                      </a:lnTo>
                      <a:lnTo>
                        <a:pt x="623" y="92"/>
                      </a:lnTo>
                      <a:lnTo>
                        <a:pt x="615" y="84"/>
                      </a:lnTo>
                      <a:lnTo>
                        <a:pt x="604" y="79"/>
                      </a:lnTo>
                      <a:lnTo>
                        <a:pt x="594" y="75"/>
                      </a:lnTo>
                      <a:lnTo>
                        <a:pt x="582" y="75"/>
                      </a:lnTo>
                      <a:lnTo>
                        <a:pt x="582" y="75"/>
                      </a:lnTo>
                      <a:lnTo>
                        <a:pt x="570" y="75"/>
                      </a:lnTo>
                      <a:lnTo>
                        <a:pt x="560" y="79"/>
                      </a:lnTo>
                      <a:lnTo>
                        <a:pt x="550" y="84"/>
                      </a:lnTo>
                      <a:lnTo>
                        <a:pt x="541" y="92"/>
                      </a:lnTo>
                      <a:lnTo>
                        <a:pt x="534" y="101"/>
                      </a:lnTo>
                      <a:lnTo>
                        <a:pt x="529" y="109"/>
                      </a:lnTo>
                      <a:lnTo>
                        <a:pt x="526" y="121"/>
                      </a:lnTo>
                      <a:lnTo>
                        <a:pt x="524" y="133"/>
                      </a:lnTo>
                      <a:lnTo>
                        <a:pt x="524" y="133"/>
                      </a:lnTo>
                      <a:lnTo>
                        <a:pt x="526" y="144"/>
                      </a:lnTo>
                      <a:lnTo>
                        <a:pt x="529" y="156"/>
                      </a:lnTo>
                      <a:lnTo>
                        <a:pt x="534" y="166"/>
                      </a:lnTo>
                      <a:lnTo>
                        <a:pt x="541" y="175"/>
                      </a:lnTo>
                      <a:lnTo>
                        <a:pt x="550" y="181"/>
                      </a:lnTo>
                      <a:lnTo>
                        <a:pt x="560" y="187"/>
                      </a:lnTo>
                      <a:lnTo>
                        <a:pt x="570" y="190"/>
                      </a:lnTo>
                      <a:lnTo>
                        <a:pt x="582" y="192"/>
                      </a:lnTo>
                      <a:close/>
                      <a:moveTo>
                        <a:pt x="731" y="331"/>
                      </a:moveTo>
                      <a:lnTo>
                        <a:pt x="731" y="331"/>
                      </a:lnTo>
                      <a:lnTo>
                        <a:pt x="743" y="329"/>
                      </a:lnTo>
                      <a:lnTo>
                        <a:pt x="755" y="325"/>
                      </a:lnTo>
                      <a:lnTo>
                        <a:pt x="764" y="320"/>
                      </a:lnTo>
                      <a:lnTo>
                        <a:pt x="774" y="313"/>
                      </a:lnTo>
                      <a:lnTo>
                        <a:pt x="781" y="305"/>
                      </a:lnTo>
                      <a:lnTo>
                        <a:pt x="786" y="295"/>
                      </a:lnTo>
                      <a:lnTo>
                        <a:pt x="789" y="284"/>
                      </a:lnTo>
                      <a:lnTo>
                        <a:pt x="791" y="272"/>
                      </a:lnTo>
                      <a:lnTo>
                        <a:pt x="791" y="272"/>
                      </a:lnTo>
                      <a:lnTo>
                        <a:pt x="789" y="260"/>
                      </a:lnTo>
                      <a:lnTo>
                        <a:pt x="786" y="250"/>
                      </a:lnTo>
                      <a:lnTo>
                        <a:pt x="781" y="240"/>
                      </a:lnTo>
                      <a:lnTo>
                        <a:pt x="774" y="231"/>
                      </a:lnTo>
                      <a:lnTo>
                        <a:pt x="764" y="224"/>
                      </a:lnTo>
                      <a:lnTo>
                        <a:pt x="755" y="219"/>
                      </a:lnTo>
                      <a:lnTo>
                        <a:pt x="743" y="216"/>
                      </a:lnTo>
                      <a:lnTo>
                        <a:pt x="731" y="214"/>
                      </a:lnTo>
                      <a:lnTo>
                        <a:pt x="731" y="214"/>
                      </a:lnTo>
                      <a:lnTo>
                        <a:pt x="719" y="216"/>
                      </a:lnTo>
                      <a:lnTo>
                        <a:pt x="709" y="219"/>
                      </a:lnTo>
                      <a:lnTo>
                        <a:pt x="699" y="224"/>
                      </a:lnTo>
                      <a:lnTo>
                        <a:pt x="690" y="231"/>
                      </a:lnTo>
                      <a:lnTo>
                        <a:pt x="683" y="240"/>
                      </a:lnTo>
                      <a:lnTo>
                        <a:pt x="678" y="250"/>
                      </a:lnTo>
                      <a:lnTo>
                        <a:pt x="675" y="260"/>
                      </a:lnTo>
                      <a:lnTo>
                        <a:pt x="673" y="272"/>
                      </a:lnTo>
                      <a:lnTo>
                        <a:pt x="673" y="272"/>
                      </a:lnTo>
                      <a:lnTo>
                        <a:pt x="675" y="284"/>
                      </a:lnTo>
                      <a:lnTo>
                        <a:pt x="678" y="295"/>
                      </a:lnTo>
                      <a:lnTo>
                        <a:pt x="683" y="305"/>
                      </a:lnTo>
                      <a:lnTo>
                        <a:pt x="690" y="313"/>
                      </a:lnTo>
                      <a:lnTo>
                        <a:pt x="699" y="320"/>
                      </a:lnTo>
                      <a:lnTo>
                        <a:pt x="709" y="325"/>
                      </a:lnTo>
                      <a:lnTo>
                        <a:pt x="719" y="329"/>
                      </a:lnTo>
                      <a:lnTo>
                        <a:pt x="731" y="331"/>
                      </a:lnTo>
                      <a:close/>
                      <a:moveTo>
                        <a:pt x="923" y="351"/>
                      </a:moveTo>
                      <a:lnTo>
                        <a:pt x="923" y="351"/>
                      </a:lnTo>
                      <a:lnTo>
                        <a:pt x="911" y="353"/>
                      </a:lnTo>
                      <a:lnTo>
                        <a:pt x="901" y="356"/>
                      </a:lnTo>
                      <a:lnTo>
                        <a:pt x="891" y="361"/>
                      </a:lnTo>
                      <a:lnTo>
                        <a:pt x="882" y="368"/>
                      </a:lnTo>
                      <a:lnTo>
                        <a:pt x="875" y="377"/>
                      </a:lnTo>
                      <a:lnTo>
                        <a:pt x="868" y="387"/>
                      </a:lnTo>
                      <a:lnTo>
                        <a:pt x="865" y="397"/>
                      </a:lnTo>
                      <a:lnTo>
                        <a:pt x="865" y="409"/>
                      </a:lnTo>
                      <a:lnTo>
                        <a:pt x="865" y="409"/>
                      </a:lnTo>
                      <a:lnTo>
                        <a:pt x="865" y="421"/>
                      </a:lnTo>
                      <a:lnTo>
                        <a:pt x="868" y="432"/>
                      </a:lnTo>
                      <a:lnTo>
                        <a:pt x="875" y="442"/>
                      </a:lnTo>
                      <a:lnTo>
                        <a:pt x="882" y="450"/>
                      </a:lnTo>
                      <a:lnTo>
                        <a:pt x="891" y="457"/>
                      </a:lnTo>
                      <a:lnTo>
                        <a:pt x="901" y="462"/>
                      </a:lnTo>
                      <a:lnTo>
                        <a:pt x="911" y="466"/>
                      </a:lnTo>
                      <a:lnTo>
                        <a:pt x="923" y="468"/>
                      </a:lnTo>
                      <a:lnTo>
                        <a:pt x="923" y="468"/>
                      </a:lnTo>
                      <a:lnTo>
                        <a:pt x="935" y="466"/>
                      </a:lnTo>
                      <a:lnTo>
                        <a:pt x="945" y="462"/>
                      </a:lnTo>
                      <a:lnTo>
                        <a:pt x="956" y="457"/>
                      </a:lnTo>
                      <a:lnTo>
                        <a:pt x="964" y="450"/>
                      </a:lnTo>
                      <a:lnTo>
                        <a:pt x="971" y="442"/>
                      </a:lnTo>
                      <a:lnTo>
                        <a:pt x="978" y="432"/>
                      </a:lnTo>
                      <a:lnTo>
                        <a:pt x="981" y="421"/>
                      </a:lnTo>
                      <a:lnTo>
                        <a:pt x="981" y="409"/>
                      </a:lnTo>
                      <a:lnTo>
                        <a:pt x="981" y="409"/>
                      </a:lnTo>
                      <a:lnTo>
                        <a:pt x="981" y="397"/>
                      </a:lnTo>
                      <a:lnTo>
                        <a:pt x="978" y="387"/>
                      </a:lnTo>
                      <a:lnTo>
                        <a:pt x="971" y="377"/>
                      </a:lnTo>
                      <a:lnTo>
                        <a:pt x="964" y="368"/>
                      </a:lnTo>
                      <a:lnTo>
                        <a:pt x="956" y="361"/>
                      </a:lnTo>
                      <a:lnTo>
                        <a:pt x="945" y="356"/>
                      </a:lnTo>
                      <a:lnTo>
                        <a:pt x="935" y="353"/>
                      </a:lnTo>
                      <a:lnTo>
                        <a:pt x="923" y="351"/>
                      </a:lnTo>
                      <a:close/>
                      <a:moveTo>
                        <a:pt x="897" y="157"/>
                      </a:moveTo>
                      <a:lnTo>
                        <a:pt x="897" y="157"/>
                      </a:lnTo>
                      <a:lnTo>
                        <a:pt x="909" y="157"/>
                      </a:lnTo>
                      <a:lnTo>
                        <a:pt x="920" y="154"/>
                      </a:lnTo>
                      <a:lnTo>
                        <a:pt x="930" y="147"/>
                      </a:lnTo>
                      <a:lnTo>
                        <a:pt x="938" y="140"/>
                      </a:lnTo>
                      <a:lnTo>
                        <a:pt x="945" y="132"/>
                      </a:lnTo>
                      <a:lnTo>
                        <a:pt x="950" y="121"/>
                      </a:lnTo>
                      <a:lnTo>
                        <a:pt x="954" y="111"/>
                      </a:lnTo>
                      <a:lnTo>
                        <a:pt x="956" y="99"/>
                      </a:lnTo>
                      <a:lnTo>
                        <a:pt x="956" y="99"/>
                      </a:lnTo>
                      <a:lnTo>
                        <a:pt x="954" y="87"/>
                      </a:lnTo>
                      <a:lnTo>
                        <a:pt x="950" y="77"/>
                      </a:lnTo>
                      <a:lnTo>
                        <a:pt x="945" y="67"/>
                      </a:lnTo>
                      <a:lnTo>
                        <a:pt x="938" y="58"/>
                      </a:lnTo>
                      <a:lnTo>
                        <a:pt x="930" y="51"/>
                      </a:lnTo>
                      <a:lnTo>
                        <a:pt x="920" y="46"/>
                      </a:lnTo>
                      <a:lnTo>
                        <a:pt x="909" y="43"/>
                      </a:lnTo>
                      <a:lnTo>
                        <a:pt x="897" y="41"/>
                      </a:lnTo>
                      <a:lnTo>
                        <a:pt x="897" y="41"/>
                      </a:lnTo>
                      <a:lnTo>
                        <a:pt x="885" y="43"/>
                      </a:lnTo>
                      <a:lnTo>
                        <a:pt x="873" y="46"/>
                      </a:lnTo>
                      <a:lnTo>
                        <a:pt x="865" y="51"/>
                      </a:lnTo>
                      <a:lnTo>
                        <a:pt x="855" y="58"/>
                      </a:lnTo>
                      <a:lnTo>
                        <a:pt x="848" y="67"/>
                      </a:lnTo>
                      <a:lnTo>
                        <a:pt x="843" y="77"/>
                      </a:lnTo>
                      <a:lnTo>
                        <a:pt x="839" y="87"/>
                      </a:lnTo>
                      <a:lnTo>
                        <a:pt x="837" y="99"/>
                      </a:lnTo>
                      <a:lnTo>
                        <a:pt x="837" y="99"/>
                      </a:lnTo>
                      <a:lnTo>
                        <a:pt x="839" y="111"/>
                      </a:lnTo>
                      <a:lnTo>
                        <a:pt x="843" y="121"/>
                      </a:lnTo>
                      <a:lnTo>
                        <a:pt x="848" y="132"/>
                      </a:lnTo>
                      <a:lnTo>
                        <a:pt x="855" y="140"/>
                      </a:lnTo>
                      <a:lnTo>
                        <a:pt x="865" y="147"/>
                      </a:lnTo>
                      <a:lnTo>
                        <a:pt x="873" y="154"/>
                      </a:lnTo>
                      <a:lnTo>
                        <a:pt x="885" y="157"/>
                      </a:lnTo>
                      <a:lnTo>
                        <a:pt x="897" y="157"/>
                      </a:lnTo>
                      <a:close/>
                      <a:moveTo>
                        <a:pt x="1016" y="312"/>
                      </a:moveTo>
                      <a:lnTo>
                        <a:pt x="1016" y="312"/>
                      </a:lnTo>
                      <a:lnTo>
                        <a:pt x="1028" y="312"/>
                      </a:lnTo>
                      <a:lnTo>
                        <a:pt x="1040" y="308"/>
                      </a:lnTo>
                      <a:lnTo>
                        <a:pt x="1048" y="303"/>
                      </a:lnTo>
                      <a:lnTo>
                        <a:pt x="1057" y="296"/>
                      </a:lnTo>
                      <a:lnTo>
                        <a:pt x="1065" y="286"/>
                      </a:lnTo>
                      <a:lnTo>
                        <a:pt x="1070" y="277"/>
                      </a:lnTo>
                      <a:lnTo>
                        <a:pt x="1074" y="265"/>
                      </a:lnTo>
                      <a:lnTo>
                        <a:pt x="1074" y="253"/>
                      </a:lnTo>
                      <a:lnTo>
                        <a:pt x="1074" y="253"/>
                      </a:lnTo>
                      <a:lnTo>
                        <a:pt x="1074" y="243"/>
                      </a:lnTo>
                      <a:lnTo>
                        <a:pt x="1070" y="231"/>
                      </a:lnTo>
                      <a:lnTo>
                        <a:pt x="1065" y="221"/>
                      </a:lnTo>
                      <a:lnTo>
                        <a:pt x="1057" y="212"/>
                      </a:lnTo>
                      <a:lnTo>
                        <a:pt x="1048" y="205"/>
                      </a:lnTo>
                      <a:lnTo>
                        <a:pt x="1040" y="200"/>
                      </a:lnTo>
                      <a:lnTo>
                        <a:pt x="1028" y="197"/>
                      </a:lnTo>
                      <a:lnTo>
                        <a:pt x="1016" y="195"/>
                      </a:lnTo>
                      <a:lnTo>
                        <a:pt x="1016" y="195"/>
                      </a:lnTo>
                      <a:lnTo>
                        <a:pt x="1004" y="197"/>
                      </a:lnTo>
                      <a:lnTo>
                        <a:pt x="993" y="200"/>
                      </a:lnTo>
                      <a:lnTo>
                        <a:pt x="983" y="205"/>
                      </a:lnTo>
                      <a:lnTo>
                        <a:pt x="974" y="212"/>
                      </a:lnTo>
                      <a:lnTo>
                        <a:pt x="968" y="221"/>
                      </a:lnTo>
                      <a:lnTo>
                        <a:pt x="962" y="231"/>
                      </a:lnTo>
                      <a:lnTo>
                        <a:pt x="959" y="243"/>
                      </a:lnTo>
                      <a:lnTo>
                        <a:pt x="957" y="253"/>
                      </a:lnTo>
                      <a:lnTo>
                        <a:pt x="957" y="253"/>
                      </a:lnTo>
                      <a:lnTo>
                        <a:pt x="959" y="265"/>
                      </a:lnTo>
                      <a:lnTo>
                        <a:pt x="962" y="277"/>
                      </a:lnTo>
                      <a:lnTo>
                        <a:pt x="968" y="286"/>
                      </a:lnTo>
                      <a:lnTo>
                        <a:pt x="974" y="296"/>
                      </a:lnTo>
                      <a:lnTo>
                        <a:pt x="983" y="303"/>
                      </a:lnTo>
                      <a:lnTo>
                        <a:pt x="993" y="308"/>
                      </a:lnTo>
                      <a:lnTo>
                        <a:pt x="1004" y="312"/>
                      </a:lnTo>
                      <a:lnTo>
                        <a:pt x="1016" y="312"/>
                      </a:lnTo>
                      <a:close/>
                      <a:moveTo>
                        <a:pt x="1173" y="226"/>
                      </a:moveTo>
                      <a:lnTo>
                        <a:pt x="1173" y="226"/>
                      </a:lnTo>
                      <a:lnTo>
                        <a:pt x="1185" y="224"/>
                      </a:lnTo>
                      <a:lnTo>
                        <a:pt x="1195" y="221"/>
                      </a:lnTo>
                      <a:lnTo>
                        <a:pt x="1206" y="216"/>
                      </a:lnTo>
                      <a:lnTo>
                        <a:pt x="1214" y="209"/>
                      </a:lnTo>
                      <a:lnTo>
                        <a:pt x="1221" y="200"/>
                      </a:lnTo>
                      <a:lnTo>
                        <a:pt x="1226" y="190"/>
                      </a:lnTo>
                      <a:lnTo>
                        <a:pt x="1230" y="180"/>
                      </a:lnTo>
                      <a:lnTo>
                        <a:pt x="1231" y="168"/>
                      </a:lnTo>
                      <a:lnTo>
                        <a:pt x="1231" y="168"/>
                      </a:lnTo>
                      <a:lnTo>
                        <a:pt x="1230" y="156"/>
                      </a:lnTo>
                      <a:lnTo>
                        <a:pt x="1226" y="145"/>
                      </a:lnTo>
                      <a:lnTo>
                        <a:pt x="1221" y="135"/>
                      </a:lnTo>
                      <a:lnTo>
                        <a:pt x="1214" y="127"/>
                      </a:lnTo>
                      <a:lnTo>
                        <a:pt x="1206" y="120"/>
                      </a:lnTo>
                      <a:lnTo>
                        <a:pt x="1195" y="115"/>
                      </a:lnTo>
                      <a:lnTo>
                        <a:pt x="1185" y="111"/>
                      </a:lnTo>
                      <a:lnTo>
                        <a:pt x="1173" y="109"/>
                      </a:lnTo>
                      <a:lnTo>
                        <a:pt x="1173" y="109"/>
                      </a:lnTo>
                      <a:lnTo>
                        <a:pt x="1161" y="111"/>
                      </a:lnTo>
                      <a:lnTo>
                        <a:pt x="1149" y="115"/>
                      </a:lnTo>
                      <a:lnTo>
                        <a:pt x="1141" y="120"/>
                      </a:lnTo>
                      <a:lnTo>
                        <a:pt x="1132" y="127"/>
                      </a:lnTo>
                      <a:lnTo>
                        <a:pt x="1124" y="135"/>
                      </a:lnTo>
                      <a:lnTo>
                        <a:pt x="1118" y="145"/>
                      </a:lnTo>
                      <a:lnTo>
                        <a:pt x="1115" y="156"/>
                      </a:lnTo>
                      <a:lnTo>
                        <a:pt x="1113" y="168"/>
                      </a:lnTo>
                      <a:lnTo>
                        <a:pt x="1113" y="168"/>
                      </a:lnTo>
                      <a:lnTo>
                        <a:pt x="1115" y="180"/>
                      </a:lnTo>
                      <a:lnTo>
                        <a:pt x="1118" y="190"/>
                      </a:lnTo>
                      <a:lnTo>
                        <a:pt x="1124" y="200"/>
                      </a:lnTo>
                      <a:lnTo>
                        <a:pt x="1132" y="209"/>
                      </a:lnTo>
                      <a:lnTo>
                        <a:pt x="1141" y="216"/>
                      </a:lnTo>
                      <a:lnTo>
                        <a:pt x="1149" y="221"/>
                      </a:lnTo>
                      <a:lnTo>
                        <a:pt x="1161" y="224"/>
                      </a:lnTo>
                      <a:lnTo>
                        <a:pt x="1173" y="226"/>
                      </a:lnTo>
                      <a:close/>
                      <a:moveTo>
                        <a:pt x="1398" y="343"/>
                      </a:moveTo>
                      <a:lnTo>
                        <a:pt x="1398" y="343"/>
                      </a:lnTo>
                      <a:lnTo>
                        <a:pt x="1410" y="341"/>
                      </a:lnTo>
                      <a:lnTo>
                        <a:pt x="1420" y="337"/>
                      </a:lnTo>
                      <a:lnTo>
                        <a:pt x="1430" y="332"/>
                      </a:lnTo>
                      <a:lnTo>
                        <a:pt x="1439" y="325"/>
                      </a:lnTo>
                      <a:lnTo>
                        <a:pt x="1446" y="317"/>
                      </a:lnTo>
                      <a:lnTo>
                        <a:pt x="1452" y="307"/>
                      </a:lnTo>
                      <a:lnTo>
                        <a:pt x="1456" y="296"/>
                      </a:lnTo>
                      <a:lnTo>
                        <a:pt x="1456" y="284"/>
                      </a:lnTo>
                      <a:lnTo>
                        <a:pt x="1456" y="284"/>
                      </a:lnTo>
                      <a:lnTo>
                        <a:pt x="1456" y="272"/>
                      </a:lnTo>
                      <a:lnTo>
                        <a:pt x="1452" y="262"/>
                      </a:lnTo>
                      <a:lnTo>
                        <a:pt x="1446" y="252"/>
                      </a:lnTo>
                      <a:lnTo>
                        <a:pt x="1439" y="243"/>
                      </a:lnTo>
                      <a:lnTo>
                        <a:pt x="1430" y="236"/>
                      </a:lnTo>
                      <a:lnTo>
                        <a:pt x="1420" y="231"/>
                      </a:lnTo>
                      <a:lnTo>
                        <a:pt x="1410" y="228"/>
                      </a:lnTo>
                      <a:lnTo>
                        <a:pt x="1398" y="226"/>
                      </a:lnTo>
                      <a:lnTo>
                        <a:pt x="1398" y="226"/>
                      </a:lnTo>
                      <a:lnTo>
                        <a:pt x="1386" y="228"/>
                      </a:lnTo>
                      <a:lnTo>
                        <a:pt x="1375" y="231"/>
                      </a:lnTo>
                      <a:lnTo>
                        <a:pt x="1365" y="236"/>
                      </a:lnTo>
                      <a:lnTo>
                        <a:pt x="1356" y="243"/>
                      </a:lnTo>
                      <a:lnTo>
                        <a:pt x="1350" y="252"/>
                      </a:lnTo>
                      <a:lnTo>
                        <a:pt x="1344" y="262"/>
                      </a:lnTo>
                      <a:lnTo>
                        <a:pt x="1341" y="272"/>
                      </a:lnTo>
                      <a:lnTo>
                        <a:pt x="1339" y="284"/>
                      </a:lnTo>
                      <a:lnTo>
                        <a:pt x="1339" y="284"/>
                      </a:lnTo>
                      <a:lnTo>
                        <a:pt x="1341" y="296"/>
                      </a:lnTo>
                      <a:lnTo>
                        <a:pt x="1344" y="307"/>
                      </a:lnTo>
                      <a:lnTo>
                        <a:pt x="1350" y="317"/>
                      </a:lnTo>
                      <a:lnTo>
                        <a:pt x="1356" y="325"/>
                      </a:lnTo>
                      <a:lnTo>
                        <a:pt x="1365" y="332"/>
                      </a:lnTo>
                      <a:lnTo>
                        <a:pt x="1375" y="337"/>
                      </a:lnTo>
                      <a:lnTo>
                        <a:pt x="1386" y="341"/>
                      </a:lnTo>
                      <a:lnTo>
                        <a:pt x="1398" y="343"/>
                      </a:lnTo>
                      <a:close/>
                      <a:moveTo>
                        <a:pt x="1173" y="425"/>
                      </a:moveTo>
                      <a:lnTo>
                        <a:pt x="1173" y="425"/>
                      </a:lnTo>
                      <a:lnTo>
                        <a:pt x="1175" y="437"/>
                      </a:lnTo>
                      <a:lnTo>
                        <a:pt x="1178" y="447"/>
                      </a:lnTo>
                      <a:lnTo>
                        <a:pt x="1183" y="457"/>
                      </a:lnTo>
                      <a:lnTo>
                        <a:pt x="1190" y="466"/>
                      </a:lnTo>
                      <a:lnTo>
                        <a:pt x="1199" y="473"/>
                      </a:lnTo>
                      <a:lnTo>
                        <a:pt x="1209" y="480"/>
                      </a:lnTo>
                      <a:lnTo>
                        <a:pt x="1221" y="483"/>
                      </a:lnTo>
                      <a:lnTo>
                        <a:pt x="1233" y="483"/>
                      </a:lnTo>
                      <a:lnTo>
                        <a:pt x="1233" y="483"/>
                      </a:lnTo>
                      <a:lnTo>
                        <a:pt x="1243" y="483"/>
                      </a:lnTo>
                      <a:lnTo>
                        <a:pt x="1255" y="480"/>
                      </a:lnTo>
                      <a:lnTo>
                        <a:pt x="1266" y="473"/>
                      </a:lnTo>
                      <a:lnTo>
                        <a:pt x="1274" y="466"/>
                      </a:lnTo>
                      <a:lnTo>
                        <a:pt x="1281" y="457"/>
                      </a:lnTo>
                      <a:lnTo>
                        <a:pt x="1286" y="447"/>
                      </a:lnTo>
                      <a:lnTo>
                        <a:pt x="1290" y="437"/>
                      </a:lnTo>
                      <a:lnTo>
                        <a:pt x="1291" y="425"/>
                      </a:lnTo>
                      <a:lnTo>
                        <a:pt x="1291" y="425"/>
                      </a:lnTo>
                      <a:lnTo>
                        <a:pt x="1290" y="413"/>
                      </a:lnTo>
                      <a:lnTo>
                        <a:pt x="1286" y="403"/>
                      </a:lnTo>
                      <a:lnTo>
                        <a:pt x="1281" y="392"/>
                      </a:lnTo>
                      <a:lnTo>
                        <a:pt x="1274" y="384"/>
                      </a:lnTo>
                      <a:lnTo>
                        <a:pt x="1266" y="377"/>
                      </a:lnTo>
                      <a:lnTo>
                        <a:pt x="1255" y="372"/>
                      </a:lnTo>
                      <a:lnTo>
                        <a:pt x="1243" y="368"/>
                      </a:lnTo>
                      <a:lnTo>
                        <a:pt x="1233" y="367"/>
                      </a:lnTo>
                      <a:lnTo>
                        <a:pt x="1233" y="367"/>
                      </a:lnTo>
                      <a:lnTo>
                        <a:pt x="1221" y="368"/>
                      </a:lnTo>
                      <a:lnTo>
                        <a:pt x="1209" y="372"/>
                      </a:lnTo>
                      <a:lnTo>
                        <a:pt x="1199" y="377"/>
                      </a:lnTo>
                      <a:lnTo>
                        <a:pt x="1190" y="384"/>
                      </a:lnTo>
                      <a:lnTo>
                        <a:pt x="1183" y="392"/>
                      </a:lnTo>
                      <a:lnTo>
                        <a:pt x="1178" y="403"/>
                      </a:lnTo>
                      <a:lnTo>
                        <a:pt x="1175" y="413"/>
                      </a:lnTo>
                      <a:lnTo>
                        <a:pt x="1173" y="425"/>
                      </a:lnTo>
                      <a:close/>
                      <a:moveTo>
                        <a:pt x="291" y="483"/>
                      </a:moveTo>
                      <a:lnTo>
                        <a:pt x="291" y="483"/>
                      </a:lnTo>
                      <a:lnTo>
                        <a:pt x="303" y="483"/>
                      </a:lnTo>
                      <a:lnTo>
                        <a:pt x="313" y="480"/>
                      </a:lnTo>
                      <a:lnTo>
                        <a:pt x="323" y="473"/>
                      </a:lnTo>
                      <a:lnTo>
                        <a:pt x="332" y="466"/>
                      </a:lnTo>
                      <a:lnTo>
                        <a:pt x="339" y="457"/>
                      </a:lnTo>
                      <a:lnTo>
                        <a:pt x="346" y="447"/>
                      </a:lnTo>
                      <a:lnTo>
                        <a:pt x="349" y="437"/>
                      </a:lnTo>
                      <a:lnTo>
                        <a:pt x="349" y="425"/>
                      </a:lnTo>
                      <a:lnTo>
                        <a:pt x="349" y="425"/>
                      </a:lnTo>
                      <a:lnTo>
                        <a:pt x="349" y="413"/>
                      </a:lnTo>
                      <a:lnTo>
                        <a:pt x="346" y="403"/>
                      </a:lnTo>
                      <a:lnTo>
                        <a:pt x="339" y="392"/>
                      </a:lnTo>
                      <a:lnTo>
                        <a:pt x="332" y="384"/>
                      </a:lnTo>
                      <a:lnTo>
                        <a:pt x="323" y="377"/>
                      </a:lnTo>
                      <a:lnTo>
                        <a:pt x="313" y="372"/>
                      </a:lnTo>
                      <a:lnTo>
                        <a:pt x="303" y="368"/>
                      </a:lnTo>
                      <a:lnTo>
                        <a:pt x="291" y="367"/>
                      </a:lnTo>
                      <a:lnTo>
                        <a:pt x="291" y="367"/>
                      </a:lnTo>
                      <a:lnTo>
                        <a:pt x="279" y="368"/>
                      </a:lnTo>
                      <a:lnTo>
                        <a:pt x="269" y="372"/>
                      </a:lnTo>
                      <a:lnTo>
                        <a:pt x="258" y="377"/>
                      </a:lnTo>
                      <a:lnTo>
                        <a:pt x="250" y="384"/>
                      </a:lnTo>
                      <a:lnTo>
                        <a:pt x="243" y="392"/>
                      </a:lnTo>
                      <a:lnTo>
                        <a:pt x="238" y="403"/>
                      </a:lnTo>
                      <a:lnTo>
                        <a:pt x="234" y="413"/>
                      </a:lnTo>
                      <a:lnTo>
                        <a:pt x="233" y="425"/>
                      </a:lnTo>
                      <a:lnTo>
                        <a:pt x="233" y="425"/>
                      </a:lnTo>
                      <a:lnTo>
                        <a:pt x="234" y="437"/>
                      </a:lnTo>
                      <a:lnTo>
                        <a:pt x="238" y="447"/>
                      </a:lnTo>
                      <a:lnTo>
                        <a:pt x="243" y="457"/>
                      </a:lnTo>
                      <a:lnTo>
                        <a:pt x="250" y="466"/>
                      </a:lnTo>
                      <a:lnTo>
                        <a:pt x="258" y="473"/>
                      </a:lnTo>
                      <a:lnTo>
                        <a:pt x="269" y="480"/>
                      </a:lnTo>
                      <a:lnTo>
                        <a:pt x="279" y="483"/>
                      </a:lnTo>
                      <a:lnTo>
                        <a:pt x="291" y="483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ED74F8E-7160-F146-BEF6-32CB805CE899}"/>
              </a:ext>
            </a:extLst>
          </p:cNvPr>
          <p:cNvGrpSpPr/>
          <p:nvPr/>
        </p:nvGrpSpPr>
        <p:grpSpPr>
          <a:xfrm>
            <a:off x="5137215" y="1939791"/>
            <a:ext cx="3168520" cy="4286823"/>
            <a:chOff x="4812107" y="1970271"/>
            <a:chExt cx="3168520" cy="4286823"/>
          </a:xfrm>
        </p:grpSpPr>
        <p:sp>
          <p:nvSpPr>
            <p:cNvPr id="44" name="Text Placeholder 19">
              <a:extLst>
                <a:ext uri="{FF2B5EF4-FFF2-40B4-BE49-F238E27FC236}">
                  <a16:creationId xmlns:a16="http://schemas.microsoft.com/office/drawing/2014/main" id="{6162EB68-983F-40A0-830F-71972DE18B24}"/>
                </a:ext>
              </a:extLst>
            </p:cNvPr>
            <p:cNvSpPr txBox="1">
              <a:spLocks/>
            </p:cNvSpPr>
            <p:nvPr/>
          </p:nvSpPr>
          <p:spPr>
            <a:xfrm>
              <a:off x="5752318" y="4672017"/>
              <a:ext cx="1288099" cy="769441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>
              <a:lvl1pPr marL="0" indent="0" algn="ctr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4000" b="1" kern="1200" cap="all" baseline="0">
                  <a:solidFill>
                    <a:schemeClr val="tx1"/>
                  </a:solidFill>
                  <a:latin typeface="Impact" charset="0"/>
                  <a:ea typeface="Impact" charset="0"/>
                  <a:cs typeface="Impact" charset="0"/>
                </a:defRPr>
              </a:lvl1pPr>
              <a:lvl2pPr marL="45720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20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8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600" b="1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6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 typeface="Arial"/>
                <a:buNone/>
                <a:tabLst/>
                <a:defRPr/>
              </a:pPr>
              <a:r>
                <a:rPr lang="en-US" sz="4400" b="0" dirty="0">
                  <a:solidFill>
                    <a:schemeClr val="tx2"/>
                  </a:solidFill>
                </a:rPr>
                <a:t>37</a:t>
              </a:r>
              <a:r>
                <a:rPr kumimoji="0" lang="en-US" sz="4400" b="0" i="0" u="none" strike="noStrike" kern="120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Impact" charset="0"/>
                </a:rPr>
                <a:t>%</a:t>
              </a:r>
            </a:p>
          </p:txBody>
        </p:sp>
        <p:sp>
          <p:nvSpPr>
            <p:cNvPr id="51" name="Text Placeholder 20">
              <a:extLst>
                <a:ext uri="{FF2B5EF4-FFF2-40B4-BE49-F238E27FC236}">
                  <a16:creationId xmlns:a16="http://schemas.microsoft.com/office/drawing/2014/main" id="{0345A546-810B-49AA-A764-95C1BE8A95E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12107" y="5590245"/>
              <a:ext cx="3168520" cy="66684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ctr" defTabSz="961844" rtl="0" eaLnBrk="1" latinLnBrk="0" hangingPunct="1">
                <a:lnSpc>
                  <a:spcPts val="2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2000" b="1" kern="1200" cap="all" baseline="0">
                  <a:solidFill>
                    <a:srgbClr val="FB3449"/>
                  </a:solidFill>
                  <a:latin typeface="Impact" charset="0"/>
                  <a:ea typeface="Impact" charset="0"/>
                  <a:cs typeface="Impact" charset="0"/>
                </a:defRPr>
              </a:lvl1pPr>
              <a:lvl2pPr marL="457200" indent="0" algn="l" defTabSz="961844" rtl="0" eaLnBrk="1" latinLnBrk="0" hangingPunct="1">
                <a:lnSpc>
                  <a:spcPts val="19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20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61844" rtl="0" eaLnBrk="1" latinLnBrk="0" hangingPunct="1">
                <a:lnSpc>
                  <a:spcPts val="15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8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61844" rtl="0" eaLnBrk="1" latinLnBrk="0" hangingPunct="1">
                <a:lnSpc>
                  <a:spcPts val="16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600" b="1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61844" rtl="0" eaLnBrk="1" latinLnBrk="0" hangingPunct="1">
                <a:lnSpc>
                  <a:spcPts val="11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6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600" cap="none" dirty="0">
                  <a:solidFill>
                    <a:srgbClr val="8A8A8D"/>
                  </a:solidFill>
                  <a:latin typeface="Arial"/>
                </a:rPr>
                <a:t>Go grocery shopping </a:t>
              </a:r>
            </a:p>
            <a:p>
              <a:pPr lvl="0"/>
              <a:r>
                <a:rPr lang="en-US" sz="1600" cap="none" dirty="0">
                  <a:solidFill>
                    <a:srgbClr val="8A8A8D"/>
                  </a:solidFill>
                  <a:latin typeface="Arial"/>
                </a:rPr>
                <a:t>online or offline </a:t>
              </a:r>
              <a:endPara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</a:endParaRPr>
            </a:p>
            <a:p>
              <a:pPr marL="0" marR="0" lvl="0" indent="0" algn="ctr" defTabSz="961844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rgbClr val="8A8A8D"/>
                  </a:solidFill>
                  <a:effectLst/>
                  <a:uLnTx/>
                  <a:uFillTx/>
                  <a:latin typeface="Arial"/>
                </a:rPr>
                <a:t>(Index: 209)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EF63CE1C-2823-4167-8345-64EF1C25C5E0}"/>
                </a:ext>
              </a:extLst>
            </p:cNvPr>
            <p:cNvGrpSpPr/>
            <p:nvPr/>
          </p:nvGrpSpPr>
          <p:grpSpPr>
            <a:xfrm>
              <a:off x="5205573" y="1970271"/>
              <a:ext cx="2381588" cy="2386921"/>
              <a:chOff x="4088730" y="2033391"/>
              <a:chExt cx="1890787" cy="1890787"/>
            </a:xfrm>
          </p:grpSpPr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6F0115AA-4F4A-404C-8E14-37B9093626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088730" y="2033391"/>
                <a:ext cx="1890787" cy="1890787"/>
              </a:xfrm>
              <a:prstGeom prst="rect">
                <a:avLst/>
              </a:prstGeom>
            </p:spPr>
          </p:pic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43435CB3-361C-4A6A-916D-AEE47008AEBE}"/>
                  </a:ext>
                </a:extLst>
              </p:cNvPr>
              <p:cNvSpPr/>
              <p:nvPr/>
            </p:nvSpPr>
            <p:spPr>
              <a:xfrm>
                <a:off x="4308969" y="2214329"/>
                <a:ext cx="1528910" cy="152891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3E610CFB-7879-4B3E-A400-39554DEF5CCF}"/>
                  </a:ext>
                </a:extLst>
              </p:cNvPr>
              <p:cNvGrpSpPr/>
              <p:nvPr/>
            </p:nvGrpSpPr>
            <p:grpSpPr>
              <a:xfrm>
                <a:off x="4468890" y="2442164"/>
                <a:ext cx="1154235" cy="1160407"/>
                <a:chOff x="7024060" y="112244"/>
                <a:chExt cx="1338086" cy="1345242"/>
              </a:xfrm>
              <a:solidFill>
                <a:srgbClr val="FB3449"/>
              </a:solidFill>
            </p:grpSpPr>
            <p:sp>
              <p:nvSpPr>
                <p:cNvPr id="34" name="Freeform 35">
                  <a:extLst>
                    <a:ext uri="{FF2B5EF4-FFF2-40B4-BE49-F238E27FC236}">
                      <a16:creationId xmlns:a16="http://schemas.microsoft.com/office/drawing/2014/main" id="{91621055-53A0-4574-BF7C-9BED275485D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024060" y="112244"/>
                  <a:ext cx="1338086" cy="1084891"/>
                </a:xfrm>
                <a:custGeom>
                  <a:avLst/>
                  <a:gdLst>
                    <a:gd name="T0" fmla="*/ 1727 w 1744"/>
                    <a:gd name="T1" fmla="*/ 91 h 1414"/>
                    <a:gd name="T2" fmla="*/ 1684 w 1744"/>
                    <a:gd name="T3" fmla="*/ 112 h 1414"/>
                    <a:gd name="T4" fmla="*/ 1485 w 1744"/>
                    <a:gd name="T5" fmla="*/ 367 h 1414"/>
                    <a:gd name="T6" fmla="*/ 1393 w 1744"/>
                    <a:gd name="T7" fmla="*/ 946 h 1414"/>
                    <a:gd name="T8" fmla="*/ 1355 w 1744"/>
                    <a:gd name="T9" fmla="*/ 1167 h 1414"/>
                    <a:gd name="T10" fmla="*/ 1314 w 1744"/>
                    <a:gd name="T11" fmla="*/ 1196 h 1414"/>
                    <a:gd name="T12" fmla="*/ 288 w 1744"/>
                    <a:gd name="T13" fmla="*/ 1196 h 1414"/>
                    <a:gd name="T14" fmla="*/ 313 w 1744"/>
                    <a:gd name="T15" fmla="*/ 1301 h 1414"/>
                    <a:gd name="T16" fmla="*/ 341 w 1744"/>
                    <a:gd name="T17" fmla="*/ 1306 h 1414"/>
                    <a:gd name="T18" fmla="*/ 1434 w 1744"/>
                    <a:gd name="T19" fmla="*/ 1311 h 1414"/>
                    <a:gd name="T20" fmla="*/ 1460 w 1744"/>
                    <a:gd name="T21" fmla="*/ 1330 h 1414"/>
                    <a:gd name="T22" fmla="*/ 1466 w 1744"/>
                    <a:gd name="T23" fmla="*/ 1383 h 1414"/>
                    <a:gd name="T24" fmla="*/ 1430 w 1744"/>
                    <a:gd name="T25" fmla="*/ 1412 h 1414"/>
                    <a:gd name="T26" fmla="*/ 288 w 1744"/>
                    <a:gd name="T27" fmla="*/ 1414 h 1414"/>
                    <a:gd name="T28" fmla="*/ 240 w 1744"/>
                    <a:gd name="T29" fmla="*/ 1402 h 1414"/>
                    <a:gd name="T30" fmla="*/ 216 w 1744"/>
                    <a:gd name="T31" fmla="*/ 1358 h 1414"/>
                    <a:gd name="T32" fmla="*/ 32 w 1744"/>
                    <a:gd name="T33" fmla="*/ 624 h 1414"/>
                    <a:gd name="T34" fmla="*/ 0 w 1744"/>
                    <a:gd name="T35" fmla="*/ 478 h 1414"/>
                    <a:gd name="T36" fmla="*/ 14 w 1744"/>
                    <a:gd name="T37" fmla="*/ 458 h 1414"/>
                    <a:gd name="T38" fmla="*/ 56 w 1744"/>
                    <a:gd name="T39" fmla="*/ 435 h 1414"/>
                    <a:gd name="T40" fmla="*/ 279 w 1744"/>
                    <a:gd name="T41" fmla="*/ 410 h 1414"/>
                    <a:gd name="T42" fmla="*/ 663 w 1744"/>
                    <a:gd name="T43" fmla="*/ 363 h 1414"/>
                    <a:gd name="T44" fmla="*/ 918 w 1744"/>
                    <a:gd name="T45" fmla="*/ 333 h 1414"/>
                    <a:gd name="T46" fmla="*/ 1280 w 1744"/>
                    <a:gd name="T47" fmla="*/ 290 h 1414"/>
                    <a:gd name="T48" fmla="*/ 1389 w 1744"/>
                    <a:gd name="T49" fmla="*/ 273 h 1414"/>
                    <a:gd name="T50" fmla="*/ 1396 w 1744"/>
                    <a:gd name="T51" fmla="*/ 240 h 1414"/>
                    <a:gd name="T52" fmla="*/ 1427 w 1744"/>
                    <a:gd name="T53" fmla="*/ 79 h 1414"/>
                    <a:gd name="T54" fmla="*/ 1465 w 1744"/>
                    <a:gd name="T55" fmla="*/ 55 h 1414"/>
                    <a:gd name="T56" fmla="*/ 1699 w 1744"/>
                    <a:gd name="T57" fmla="*/ 0 h 1414"/>
                    <a:gd name="T58" fmla="*/ 1744 w 1744"/>
                    <a:gd name="T59" fmla="*/ 41 h 1414"/>
                    <a:gd name="T60" fmla="*/ 1127 w 1744"/>
                    <a:gd name="T61" fmla="*/ 417 h 1414"/>
                    <a:gd name="T62" fmla="*/ 970 w 1744"/>
                    <a:gd name="T63" fmla="*/ 434 h 1414"/>
                    <a:gd name="T64" fmla="*/ 956 w 1744"/>
                    <a:gd name="T65" fmla="*/ 449 h 1414"/>
                    <a:gd name="T66" fmla="*/ 946 w 1744"/>
                    <a:gd name="T67" fmla="*/ 694 h 1414"/>
                    <a:gd name="T68" fmla="*/ 928 w 1744"/>
                    <a:gd name="T69" fmla="*/ 1080 h 1414"/>
                    <a:gd name="T70" fmla="*/ 939 w 1744"/>
                    <a:gd name="T71" fmla="*/ 1088 h 1414"/>
                    <a:gd name="T72" fmla="*/ 677 w 1744"/>
                    <a:gd name="T73" fmla="*/ 489 h 1414"/>
                    <a:gd name="T74" fmla="*/ 692 w 1744"/>
                    <a:gd name="T75" fmla="*/ 795 h 1414"/>
                    <a:gd name="T76" fmla="*/ 814 w 1744"/>
                    <a:gd name="T77" fmla="*/ 1088 h 1414"/>
                    <a:gd name="T78" fmla="*/ 822 w 1744"/>
                    <a:gd name="T79" fmla="*/ 1076 h 1414"/>
                    <a:gd name="T80" fmla="*/ 838 w 1744"/>
                    <a:gd name="T81" fmla="*/ 691 h 1414"/>
                    <a:gd name="T82" fmla="*/ 846 w 1744"/>
                    <a:gd name="T83" fmla="*/ 497 h 1414"/>
                    <a:gd name="T84" fmla="*/ 598 w 1744"/>
                    <a:gd name="T85" fmla="*/ 1088 h 1414"/>
                    <a:gd name="T86" fmla="*/ 586 w 1744"/>
                    <a:gd name="T87" fmla="*/ 838 h 1414"/>
                    <a:gd name="T88" fmla="*/ 570 w 1744"/>
                    <a:gd name="T89" fmla="*/ 490 h 1414"/>
                    <a:gd name="T90" fmla="*/ 552 w 1744"/>
                    <a:gd name="T91" fmla="*/ 483 h 1414"/>
                    <a:gd name="T92" fmla="*/ 399 w 1744"/>
                    <a:gd name="T93" fmla="*/ 504 h 1414"/>
                    <a:gd name="T94" fmla="*/ 373 w 1744"/>
                    <a:gd name="T95" fmla="*/ 1088 h 1414"/>
                    <a:gd name="T96" fmla="*/ 260 w 1744"/>
                    <a:gd name="T97" fmla="*/ 1088 h 1414"/>
                    <a:gd name="T98" fmla="*/ 1244 w 1744"/>
                    <a:gd name="T99" fmla="*/ 401 h 1414"/>
                    <a:gd name="T100" fmla="*/ 1237 w 1744"/>
                    <a:gd name="T101" fmla="*/ 411 h 1414"/>
                    <a:gd name="T102" fmla="*/ 1187 w 1744"/>
                    <a:gd name="T103" fmla="*/ 801 h 1414"/>
                    <a:gd name="T104" fmla="*/ 1151 w 1744"/>
                    <a:gd name="T105" fmla="*/ 1088 h 1414"/>
                    <a:gd name="T106" fmla="*/ 1263 w 1744"/>
                    <a:gd name="T107" fmla="*/ 1078 h 1414"/>
                    <a:gd name="T108" fmla="*/ 1286 w 1744"/>
                    <a:gd name="T109" fmla="*/ 890 h 1414"/>
                    <a:gd name="T110" fmla="*/ 1340 w 1744"/>
                    <a:gd name="T111" fmla="*/ 502 h 14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744" h="1414">
                      <a:moveTo>
                        <a:pt x="1744" y="67"/>
                      </a:moveTo>
                      <a:lnTo>
                        <a:pt x="1744" y="67"/>
                      </a:lnTo>
                      <a:lnTo>
                        <a:pt x="1739" y="76"/>
                      </a:lnTo>
                      <a:lnTo>
                        <a:pt x="1734" y="84"/>
                      </a:lnTo>
                      <a:lnTo>
                        <a:pt x="1727" y="91"/>
                      </a:lnTo>
                      <a:lnTo>
                        <a:pt x="1720" y="96"/>
                      </a:lnTo>
                      <a:lnTo>
                        <a:pt x="1713" y="101"/>
                      </a:lnTo>
                      <a:lnTo>
                        <a:pt x="1703" y="106"/>
                      </a:lnTo>
                      <a:lnTo>
                        <a:pt x="1684" y="112"/>
                      </a:lnTo>
                      <a:lnTo>
                        <a:pt x="1684" y="112"/>
                      </a:lnTo>
                      <a:lnTo>
                        <a:pt x="1602" y="132"/>
                      </a:lnTo>
                      <a:lnTo>
                        <a:pt x="1519" y="153"/>
                      </a:lnTo>
                      <a:lnTo>
                        <a:pt x="1519" y="153"/>
                      </a:lnTo>
                      <a:lnTo>
                        <a:pt x="1485" y="367"/>
                      </a:lnTo>
                      <a:lnTo>
                        <a:pt x="1485" y="367"/>
                      </a:lnTo>
                      <a:lnTo>
                        <a:pt x="1454" y="559"/>
                      </a:lnTo>
                      <a:lnTo>
                        <a:pt x="1454" y="559"/>
                      </a:lnTo>
                      <a:lnTo>
                        <a:pt x="1420" y="783"/>
                      </a:lnTo>
                      <a:lnTo>
                        <a:pt x="1420" y="783"/>
                      </a:lnTo>
                      <a:lnTo>
                        <a:pt x="1393" y="946"/>
                      </a:lnTo>
                      <a:lnTo>
                        <a:pt x="1393" y="946"/>
                      </a:lnTo>
                      <a:lnTo>
                        <a:pt x="1362" y="1145"/>
                      </a:lnTo>
                      <a:lnTo>
                        <a:pt x="1362" y="1145"/>
                      </a:lnTo>
                      <a:lnTo>
                        <a:pt x="1360" y="1157"/>
                      </a:lnTo>
                      <a:lnTo>
                        <a:pt x="1355" y="1167"/>
                      </a:lnTo>
                      <a:lnTo>
                        <a:pt x="1350" y="1176"/>
                      </a:lnTo>
                      <a:lnTo>
                        <a:pt x="1343" y="1183"/>
                      </a:lnTo>
                      <a:lnTo>
                        <a:pt x="1334" y="1190"/>
                      </a:lnTo>
                      <a:lnTo>
                        <a:pt x="1326" y="1193"/>
                      </a:lnTo>
                      <a:lnTo>
                        <a:pt x="1314" y="1196"/>
                      </a:lnTo>
                      <a:lnTo>
                        <a:pt x="1302" y="1196"/>
                      </a:lnTo>
                      <a:lnTo>
                        <a:pt x="1302" y="1196"/>
                      </a:lnTo>
                      <a:lnTo>
                        <a:pt x="308" y="1196"/>
                      </a:lnTo>
                      <a:lnTo>
                        <a:pt x="288" y="1196"/>
                      </a:lnTo>
                      <a:lnTo>
                        <a:pt x="288" y="1196"/>
                      </a:lnTo>
                      <a:lnTo>
                        <a:pt x="295" y="1229"/>
                      </a:lnTo>
                      <a:lnTo>
                        <a:pt x="295" y="1229"/>
                      </a:lnTo>
                      <a:lnTo>
                        <a:pt x="312" y="1296"/>
                      </a:lnTo>
                      <a:lnTo>
                        <a:pt x="312" y="1296"/>
                      </a:lnTo>
                      <a:lnTo>
                        <a:pt x="313" y="1301"/>
                      </a:lnTo>
                      <a:lnTo>
                        <a:pt x="317" y="1304"/>
                      </a:lnTo>
                      <a:lnTo>
                        <a:pt x="320" y="1306"/>
                      </a:lnTo>
                      <a:lnTo>
                        <a:pt x="325" y="1306"/>
                      </a:lnTo>
                      <a:lnTo>
                        <a:pt x="325" y="1306"/>
                      </a:lnTo>
                      <a:lnTo>
                        <a:pt x="341" y="1306"/>
                      </a:lnTo>
                      <a:lnTo>
                        <a:pt x="341" y="1306"/>
                      </a:lnTo>
                      <a:lnTo>
                        <a:pt x="1403" y="1306"/>
                      </a:lnTo>
                      <a:lnTo>
                        <a:pt x="1403" y="1306"/>
                      </a:lnTo>
                      <a:lnTo>
                        <a:pt x="1418" y="1308"/>
                      </a:lnTo>
                      <a:lnTo>
                        <a:pt x="1434" y="1311"/>
                      </a:lnTo>
                      <a:lnTo>
                        <a:pt x="1441" y="1313"/>
                      </a:lnTo>
                      <a:lnTo>
                        <a:pt x="1448" y="1318"/>
                      </a:lnTo>
                      <a:lnTo>
                        <a:pt x="1454" y="1323"/>
                      </a:lnTo>
                      <a:lnTo>
                        <a:pt x="1460" y="1330"/>
                      </a:lnTo>
                      <a:lnTo>
                        <a:pt x="1460" y="1330"/>
                      </a:lnTo>
                      <a:lnTo>
                        <a:pt x="1466" y="1342"/>
                      </a:lnTo>
                      <a:lnTo>
                        <a:pt x="1470" y="1356"/>
                      </a:lnTo>
                      <a:lnTo>
                        <a:pt x="1470" y="1370"/>
                      </a:lnTo>
                      <a:lnTo>
                        <a:pt x="1466" y="1383"/>
                      </a:lnTo>
                      <a:lnTo>
                        <a:pt x="1466" y="1383"/>
                      </a:lnTo>
                      <a:lnTo>
                        <a:pt x="1460" y="1395"/>
                      </a:lnTo>
                      <a:lnTo>
                        <a:pt x="1449" y="1404"/>
                      </a:lnTo>
                      <a:lnTo>
                        <a:pt x="1444" y="1409"/>
                      </a:lnTo>
                      <a:lnTo>
                        <a:pt x="1437" y="1411"/>
                      </a:lnTo>
                      <a:lnTo>
                        <a:pt x="1430" y="1412"/>
                      </a:lnTo>
                      <a:lnTo>
                        <a:pt x="1422" y="1414"/>
                      </a:lnTo>
                      <a:lnTo>
                        <a:pt x="1422" y="1414"/>
                      </a:lnTo>
                      <a:lnTo>
                        <a:pt x="1403" y="1414"/>
                      </a:lnTo>
                      <a:lnTo>
                        <a:pt x="1403" y="1414"/>
                      </a:lnTo>
                      <a:lnTo>
                        <a:pt x="288" y="1414"/>
                      </a:lnTo>
                      <a:lnTo>
                        <a:pt x="288" y="1414"/>
                      </a:lnTo>
                      <a:lnTo>
                        <a:pt x="272" y="1414"/>
                      </a:lnTo>
                      <a:lnTo>
                        <a:pt x="259" y="1412"/>
                      </a:lnTo>
                      <a:lnTo>
                        <a:pt x="248" y="1407"/>
                      </a:lnTo>
                      <a:lnTo>
                        <a:pt x="240" y="1402"/>
                      </a:lnTo>
                      <a:lnTo>
                        <a:pt x="231" y="1395"/>
                      </a:lnTo>
                      <a:lnTo>
                        <a:pt x="226" y="1385"/>
                      </a:lnTo>
                      <a:lnTo>
                        <a:pt x="221" y="1373"/>
                      </a:lnTo>
                      <a:lnTo>
                        <a:pt x="216" y="1358"/>
                      </a:lnTo>
                      <a:lnTo>
                        <a:pt x="216" y="1358"/>
                      </a:lnTo>
                      <a:lnTo>
                        <a:pt x="170" y="1172"/>
                      </a:lnTo>
                      <a:lnTo>
                        <a:pt x="170" y="1172"/>
                      </a:lnTo>
                      <a:lnTo>
                        <a:pt x="92" y="867"/>
                      </a:lnTo>
                      <a:lnTo>
                        <a:pt x="92" y="867"/>
                      </a:lnTo>
                      <a:lnTo>
                        <a:pt x="32" y="624"/>
                      </a:lnTo>
                      <a:lnTo>
                        <a:pt x="32" y="624"/>
                      </a:lnTo>
                      <a:lnTo>
                        <a:pt x="3" y="509"/>
                      </a:lnTo>
                      <a:lnTo>
                        <a:pt x="3" y="509"/>
                      </a:lnTo>
                      <a:lnTo>
                        <a:pt x="0" y="504"/>
                      </a:lnTo>
                      <a:lnTo>
                        <a:pt x="0" y="478"/>
                      </a:lnTo>
                      <a:lnTo>
                        <a:pt x="0" y="478"/>
                      </a:lnTo>
                      <a:lnTo>
                        <a:pt x="5" y="473"/>
                      </a:lnTo>
                      <a:lnTo>
                        <a:pt x="5" y="473"/>
                      </a:lnTo>
                      <a:lnTo>
                        <a:pt x="8" y="465"/>
                      </a:lnTo>
                      <a:lnTo>
                        <a:pt x="14" y="458"/>
                      </a:lnTo>
                      <a:lnTo>
                        <a:pt x="19" y="453"/>
                      </a:lnTo>
                      <a:lnTo>
                        <a:pt x="24" y="447"/>
                      </a:lnTo>
                      <a:lnTo>
                        <a:pt x="31" y="442"/>
                      </a:lnTo>
                      <a:lnTo>
                        <a:pt x="39" y="441"/>
                      </a:lnTo>
                      <a:lnTo>
                        <a:pt x="56" y="435"/>
                      </a:lnTo>
                      <a:lnTo>
                        <a:pt x="56" y="435"/>
                      </a:lnTo>
                      <a:lnTo>
                        <a:pt x="154" y="425"/>
                      </a:lnTo>
                      <a:lnTo>
                        <a:pt x="154" y="425"/>
                      </a:lnTo>
                      <a:lnTo>
                        <a:pt x="279" y="410"/>
                      </a:lnTo>
                      <a:lnTo>
                        <a:pt x="279" y="410"/>
                      </a:lnTo>
                      <a:lnTo>
                        <a:pt x="409" y="393"/>
                      </a:lnTo>
                      <a:lnTo>
                        <a:pt x="409" y="393"/>
                      </a:lnTo>
                      <a:lnTo>
                        <a:pt x="536" y="379"/>
                      </a:lnTo>
                      <a:lnTo>
                        <a:pt x="536" y="379"/>
                      </a:lnTo>
                      <a:lnTo>
                        <a:pt x="663" y="363"/>
                      </a:lnTo>
                      <a:lnTo>
                        <a:pt x="663" y="363"/>
                      </a:lnTo>
                      <a:lnTo>
                        <a:pt x="790" y="348"/>
                      </a:lnTo>
                      <a:lnTo>
                        <a:pt x="790" y="348"/>
                      </a:lnTo>
                      <a:lnTo>
                        <a:pt x="918" y="333"/>
                      </a:lnTo>
                      <a:lnTo>
                        <a:pt x="918" y="333"/>
                      </a:lnTo>
                      <a:lnTo>
                        <a:pt x="1048" y="317"/>
                      </a:lnTo>
                      <a:lnTo>
                        <a:pt x="1048" y="317"/>
                      </a:lnTo>
                      <a:lnTo>
                        <a:pt x="1175" y="302"/>
                      </a:lnTo>
                      <a:lnTo>
                        <a:pt x="1175" y="302"/>
                      </a:lnTo>
                      <a:lnTo>
                        <a:pt x="1280" y="290"/>
                      </a:lnTo>
                      <a:lnTo>
                        <a:pt x="1280" y="290"/>
                      </a:lnTo>
                      <a:lnTo>
                        <a:pt x="1379" y="276"/>
                      </a:lnTo>
                      <a:lnTo>
                        <a:pt x="1379" y="276"/>
                      </a:lnTo>
                      <a:lnTo>
                        <a:pt x="1386" y="274"/>
                      </a:lnTo>
                      <a:lnTo>
                        <a:pt x="1389" y="273"/>
                      </a:lnTo>
                      <a:lnTo>
                        <a:pt x="1391" y="269"/>
                      </a:lnTo>
                      <a:lnTo>
                        <a:pt x="1393" y="264"/>
                      </a:lnTo>
                      <a:lnTo>
                        <a:pt x="1393" y="264"/>
                      </a:lnTo>
                      <a:lnTo>
                        <a:pt x="1396" y="240"/>
                      </a:lnTo>
                      <a:lnTo>
                        <a:pt x="1396" y="240"/>
                      </a:lnTo>
                      <a:lnTo>
                        <a:pt x="1417" y="106"/>
                      </a:lnTo>
                      <a:lnTo>
                        <a:pt x="1417" y="106"/>
                      </a:lnTo>
                      <a:lnTo>
                        <a:pt x="1420" y="96"/>
                      </a:lnTo>
                      <a:lnTo>
                        <a:pt x="1422" y="88"/>
                      </a:lnTo>
                      <a:lnTo>
                        <a:pt x="1427" y="79"/>
                      </a:lnTo>
                      <a:lnTo>
                        <a:pt x="1432" y="72"/>
                      </a:lnTo>
                      <a:lnTo>
                        <a:pt x="1439" y="67"/>
                      </a:lnTo>
                      <a:lnTo>
                        <a:pt x="1446" y="62"/>
                      </a:lnTo>
                      <a:lnTo>
                        <a:pt x="1456" y="58"/>
                      </a:lnTo>
                      <a:lnTo>
                        <a:pt x="1465" y="55"/>
                      </a:lnTo>
                      <a:lnTo>
                        <a:pt x="1465" y="55"/>
                      </a:lnTo>
                      <a:lnTo>
                        <a:pt x="1621" y="16"/>
                      </a:lnTo>
                      <a:lnTo>
                        <a:pt x="1621" y="16"/>
                      </a:lnTo>
                      <a:lnTo>
                        <a:pt x="1679" y="0"/>
                      </a:lnTo>
                      <a:lnTo>
                        <a:pt x="1699" y="0"/>
                      </a:lnTo>
                      <a:lnTo>
                        <a:pt x="1699" y="0"/>
                      </a:lnTo>
                      <a:lnTo>
                        <a:pt x="1713" y="7"/>
                      </a:lnTo>
                      <a:lnTo>
                        <a:pt x="1725" y="16"/>
                      </a:lnTo>
                      <a:lnTo>
                        <a:pt x="1735" y="28"/>
                      </a:lnTo>
                      <a:lnTo>
                        <a:pt x="1744" y="41"/>
                      </a:lnTo>
                      <a:lnTo>
                        <a:pt x="1744" y="67"/>
                      </a:lnTo>
                      <a:close/>
                      <a:moveTo>
                        <a:pt x="1043" y="1088"/>
                      </a:moveTo>
                      <a:lnTo>
                        <a:pt x="1043" y="1088"/>
                      </a:lnTo>
                      <a:lnTo>
                        <a:pt x="1127" y="417"/>
                      </a:lnTo>
                      <a:lnTo>
                        <a:pt x="1127" y="417"/>
                      </a:lnTo>
                      <a:lnTo>
                        <a:pt x="1105" y="418"/>
                      </a:lnTo>
                      <a:lnTo>
                        <a:pt x="1105" y="418"/>
                      </a:lnTo>
                      <a:lnTo>
                        <a:pt x="1047" y="425"/>
                      </a:lnTo>
                      <a:lnTo>
                        <a:pt x="1047" y="425"/>
                      </a:lnTo>
                      <a:lnTo>
                        <a:pt x="970" y="434"/>
                      </a:lnTo>
                      <a:lnTo>
                        <a:pt x="970" y="434"/>
                      </a:lnTo>
                      <a:lnTo>
                        <a:pt x="963" y="435"/>
                      </a:lnTo>
                      <a:lnTo>
                        <a:pt x="959" y="439"/>
                      </a:lnTo>
                      <a:lnTo>
                        <a:pt x="956" y="442"/>
                      </a:lnTo>
                      <a:lnTo>
                        <a:pt x="956" y="449"/>
                      </a:lnTo>
                      <a:lnTo>
                        <a:pt x="956" y="449"/>
                      </a:lnTo>
                      <a:lnTo>
                        <a:pt x="949" y="621"/>
                      </a:lnTo>
                      <a:lnTo>
                        <a:pt x="949" y="621"/>
                      </a:lnTo>
                      <a:lnTo>
                        <a:pt x="946" y="694"/>
                      </a:lnTo>
                      <a:lnTo>
                        <a:pt x="946" y="694"/>
                      </a:lnTo>
                      <a:lnTo>
                        <a:pt x="935" y="890"/>
                      </a:lnTo>
                      <a:lnTo>
                        <a:pt x="935" y="890"/>
                      </a:lnTo>
                      <a:lnTo>
                        <a:pt x="932" y="1011"/>
                      </a:lnTo>
                      <a:lnTo>
                        <a:pt x="932" y="1011"/>
                      </a:lnTo>
                      <a:lnTo>
                        <a:pt x="928" y="1080"/>
                      </a:lnTo>
                      <a:lnTo>
                        <a:pt x="928" y="1080"/>
                      </a:lnTo>
                      <a:lnTo>
                        <a:pt x="928" y="1085"/>
                      </a:lnTo>
                      <a:lnTo>
                        <a:pt x="930" y="1088"/>
                      </a:lnTo>
                      <a:lnTo>
                        <a:pt x="934" y="1088"/>
                      </a:lnTo>
                      <a:lnTo>
                        <a:pt x="939" y="1088"/>
                      </a:lnTo>
                      <a:lnTo>
                        <a:pt x="939" y="1088"/>
                      </a:lnTo>
                      <a:lnTo>
                        <a:pt x="1043" y="1088"/>
                      </a:lnTo>
                      <a:close/>
                      <a:moveTo>
                        <a:pt x="677" y="470"/>
                      </a:moveTo>
                      <a:lnTo>
                        <a:pt x="677" y="470"/>
                      </a:lnTo>
                      <a:lnTo>
                        <a:pt x="677" y="489"/>
                      </a:lnTo>
                      <a:lnTo>
                        <a:pt x="677" y="489"/>
                      </a:lnTo>
                      <a:lnTo>
                        <a:pt x="689" y="715"/>
                      </a:lnTo>
                      <a:lnTo>
                        <a:pt x="689" y="715"/>
                      </a:lnTo>
                      <a:lnTo>
                        <a:pt x="692" y="795"/>
                      </a:lnTo>
                      <a:lnTo>
                        <a:pt x="692" y="795"/>
                      </a:lnTo>
                      <a:lnTo>
                        <a:pt x="702" y="1016"/>
                      </a:lnTo>
                      <a:lnTo>
                        <a:pt x="702" y="1016"/>
                      </a:lnTo>
                      <a:lnTo>
                        <a:pt x="706" y="1088"/>
                      </a:lnTo>
                      <a:lnTo>
                        <a:pt x="706" y="1088"/>
                      </a:lnTo>
                      <a:lnTo>
                        <a:pt x="814" y="1088"/>
                      </a:lnTo>
                      <a:lnTo>
                        <a:pt x="814" y="1088"/>
                      </a:lnTo>
                      <a:lnTo>
                        <a:pt x="817" y="1087"/>
                      </a:lnTo>
                      <a:lnTo>
                        <a:pt x="819" y="1083"/>
                      </a:lnTo>
                      <a:lnTo>
                        <a:pt x="822" y="1076"/>
                      </a:lnTo>
                      <a:lnTo>
                        <a:pt x="822" y="1076"/>
                      </a:lnTo>
                      <a:lnTo>
                        <a:pt x="826" y="968"/>
                      </a:lnTo>
                      <a:lnTo>
                        <a:pt x="826" y="968"/>
                      </a:lnTo>
                      <a:lnTo>
                        <a:pt x="829" y="886"/>
                      </a:lnTo>
                      <a:lnTo>
                        <a:pt x="829" y="886"/>
                      </a:lnTo>
                      <a:lnTo>
                        <a:pt x="838" y="691"/>
                      </a:lnTo>
                      <a:lnTo>
                        <a:pt x="838" y="691"/>
                      </a:lnTo>
                      <a:lnTo>
                        <a:pt x="843" y="569"/>
                      </a:lnTo>
                      <a:lnTo>
                        <a:pt x="843" y="569"/>
                      </a:lnTo>
                      <a:lnTo>
                        <a:pt x="846" y="497"/>
                      </a:lnTo>
                      <a:lnTo>
                        <a:pt x="846" y="497"/>
                      </a:lnTo>
                      <a:lnTo>
                        <a:pt x="848" y="473"/>
                      </a:lnTo>
                      <a:lnTo>
                        <a:pt x="846" y="449"/>
                      </a:lnTo>
                      <a:lnTo>
                        <a:pt x="846" y="449"/>
                      </a:lnTo>
                      <a:lnTo>
                        <a:pt x="677" y="470"/>
                      </a:lnTo>
                      <a:close/>
                      <a:moveTo>
                        <a:pt x="598" y="1088"/>
                      </a:moveTo>
                      <a:lnTo>
                        <a:pt x="598" y="1088"/>
                      </a:lnTo>
                      <a:lnTo>
                        <a:pt x="594" y="1022"/>
                      </a:lnTo>
                      <a:lnTo>
                        <a:pt x="594" y="1022"/>
                      </a:lnTo>
                      <a:lnTo>
                        <a:pt x="586" y="838"/>
                      </a:lnTo>
                      <a:lnTo>
                        <a:pt x="586" y="838"/>
                      </a:lnTo>
                      <a:lnTo>
                        <a:pt x="581" y="723"/>
                      </a:lnTo>
                      <a:lnTo>
                        <a:pt x="581" y="723"/>
                      </a:lnTo>
                      <a:lnTo>
                        <a:pt x="572" y="501"/>
                      </a:lnTo>
                      <a:lnTo>
                        <a:pt x="572" y="501"/>
                      </a:lnTo>
                      <a:lnTo>
                        <a:pt x="570" y="490"/>
                      </a:lnTo>
                      <a:lnTo>
                        <a:pt x="569" y="487"/>
                      </a:lnTo>
                      <a:lnTo>
                        <a:pt x="567" y="485"/>
                      </a:lnTo>
                      <a:lnTo>
                        <a:pt x="565" y="483"/>
                      </a:lnTo>
                      <a:lnTo>
                        <a:pt x="562" y="483"/>
                      </a:lnTo>
                      <a:lnTo>
                        <a:pt x="552" y="483"/>
                      </a:lnTo>
                      <a:lnTo>
                        <a:pt x="552" y="483"/>
                      </a:lnTo>
                      <a:lnTo>
                        <a:pt x="516" y="490"/>
                      </a:lnTo>
                      <a:lnTo>
                        <a:pt x="516" y="490"/>
                      </a:lnTo>
                      <a:lnTo>
                        <a:pt x="399" y="504"/>
                      </a:lnTo>
                      <a:lnTo>
                        <a:pt x="399" y="504"/>
                      </a:lnTo>
                      <a:lnTo>
                        <a:pt x="483" y="1088"/>
                      </a:lnTo>
                      <a:lnTo>
                        <a:pt x="598" y="1088"/>
                      </a:lnTo>
                      <a:close/>
                      <a:moveTo>
                        <a:pt x="260" y="1088"/>
                      </a:moveTo>
                      <a:lnTo>
                        <a:pt x="373" y="1088"/>
                      </a:lnTo>
                      <a:lnTo>
                        <a:pt x="373" y="1088"/>
                      </a:lnTo>
                      <a:lnTo>
                        <a:pt x="293" y="516"/>
                      </a:lnTo>
                      <a:lnTo>
                        <a:pt x="293" y="516"/>
                      </a:lnTo>
                      <a:lnTo>
                        <a:pt x="122" y="537"/>
                      </a:lnTo>
                      <a:lnTo>
                        <a:pt x="122" y="537"/>
                      </a:lnTo>
                      <a:lnTo>
                        <a:pt x="260" y="1088"/>
                      </a:lnTo>
                      <a:close/>
                      <a:moveTo>
                        <a:pt x="1353" y="391"/>
                      </a:moveTo>
                      <a:lnTo>
                        <a:pt x="1353" y="391"/>
                      </a:lnTo>
                      <a:lnTo>
                        <a:pt x="1350" y="389"/>
                      </a:lnTo>
                      <a:lnTo>
                        <a:pt x="1350" y="389"/>
                      </a:lnTo>
                      <a:lnTo>
                        <a:pt x="1244" y="401"/>
                      </a:lnTo>
                      <a:lnTo>
                        <a:pt x="1244" y="401"/>
                      </a:lnTo>
                      <a:lnTo>
                        <a:pt x="1242" y="403"/>
                      </a:lnTo>
                      <a:lnTo>
                        <a:pt x="1239" y="405"/>
                      </a:lnTo>
                      <a:lnTo>
                        <a:pt x="1237" y="411"/>
                      </a:lnTo>
                      <a:lnTo>
                        <a:pt x="1237" y="411"/>
                      </a:lnTo>
                      <a:lnTo>
                        <a:pt x="1220" y="540"/>
                      </a:lnTo>
                      <a:lnTo>
                        <a:pt x="1220" y="540"/>
                      </a:lnTo>
                      <a:lnTo>
                        <a:pt x="1208" y="638"/>
                      </a:lnTo>
                      <a:lnTo>
                        <a:pt x="1208" y="638"/>
                      </a:lnTo>
                      <a:lnTo>
                        <a:pt x="1187" y="801"/>
                      </a:lnTo>
                      <a:lnTo>
                        <a:pt x="1187" y="801"/>
                      </a:lnTo>
                      <a:lnTo>
                        <a:pt x="1172" y="924"/>
                      </a:lnTo>
                      <a:lnTo>
                        <a:pt x="1172" y="924"/>
                      </a:lnTo>
                      <a:lnTo>
                        <a:pt x="1151" y="1088"/>
                      </a:lnTo>
                      <a:lnTo>
                        <a:pt x="1151" y="1088"/>
                      </a:lnTo>
                      <a:lnTo>
                        <a:pt x="1252" y="1088"/>
                      </a:lnTo>
                      <a:lnTo>
                        <a:pt x="1252" y="1088"/>
                      </a:lnTo>
                      <a:lnTo>
                        <a:pt x="1256" y="1087"/>
                      </a:lnTo>
                      <a:lnTo>
                        <a:pt x="1259" y="1085"/>
                      </a:lnTo>
                      <a:lnTo>
                        <a:pt x="1263" y="1078"/>
                      </a:lnTo>
                      <a:lnTo>
                        <a:pt x="1263" y="1078"/>
                      </a:lnTo>
                      <a:lnTo>
                        <a:pt x="1271" y="1006"/>
                      </a:lnTo>
                      <a:lnTo>
                        <a:pt x="1271" y="1006"/>
                      </a:lnTo>
                      <a:lnTo>
                        <a:pt x="1286" y="890"/>
                      </a:lnTo>
                      <a:lnTo>
                        <a:pt x="1286" y="890"/>
                      </a:lnTo>
                      <a:lnTo>
                        <a:pt x="1302" y="775"/>
                      </a:lnTo>
                      <a:lnTo>
                        <a:pt x="1302" y="775"/>
                      </a:lnTo>
                      <a:lnTo>
                        <a:pt x="1321" y="638"/>
                      </a:lnTo>
                      <a:lnTo>
                        <a:pt x="1321" y="638"/>
                      </a:lnTo>
                      <a:lnTo>
                        <a:pt x="1340" y="502"/>
                      </a:lnTo>
                      <a:lnTo>
                        <a:pt x="1340" y="502"/>
                      </a:lnTo>
                      <a:lnTo>
                        <a:pt x="1353" y="391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dirty="0"/>
                </a:p>
              </p:txBody>
            </p:sp>
            <p:sp>
              <p:nvSpPr>
                <p:cNvPr id="35" name="Freeform 42">
                  <a:extLst>
                    <a:ext uri="{FF2B5EF4-FFF2-40B4-BE49-F238E27FC236}">
                      <a16:creationId xmlns:a16="http://schemas.microsoft.com/office/drawing/2014/main" id="{DF5102DD-ED7F-4935-BDB4-94AFF94650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71167" y="1284448"/>
                  <a:ext cx="171450" cy="173038"/>
                </a:xfrm>
                <a:custGeom>
                  <a:avLst/>
                  <a:gdLst>
                    <a:gd name="T0" fmla="*/ 101 w 216"/>
                    <a:gd name="T1" fmla="*/ 218 h 218"/>
                    <a:gd name="T2" fmla="*/ 101 w 216"/>
                    <a:gd name="T3" fmla="*/ 218 h 218"/>
                    <a:gd name="T4" fmla="*/ 82 w 216"/>
                    <a:gd name="T5" fmla="*/ 213 h 218"/>
                    <a:gd name="T6" fmla="*/ 67 w 216"/>
                    <a:gd name="T7" fmla="*/ 208 h 218"/>
                    <a:gd name="T8" fmla="*/ 50 w 216"/>
                    <a:gd name="T9" fmla="*/ 199 h 218"/>
                    <a:gd name="T10" fmla="*/ 36 w 216"/>
                    <a:gd name="T11" fmla="*/ 187 h 218"/>
                    <a:gd name="T12" fmla="*/ 36 w 216"/>
                    <a:gd name="T13" fmla="*/ 187 h 218"/>
                    <a:gd name="T14" fmla="*/ 22 w 216"/>
                    <a:gd name="T15" fmla="*/ 174 h 218"/>
                    <a:gd name="T16" fmla="*/ 12 w 216"/>
                    <a:gd name="T17" fmla="*/ 158 h 218"/>
                    <a:gd name="T18" fmla="*/ 5 w 216"/>
                    <a:gd name="T19" fmla="*/ 139 h 218"/>
                    <a:gd name="T20" fmla="*/ 2 w 216"/>
                    <a:gd name="T21" fmla="*/ 122 h 218"/>
                    <a:gd name="T22" fmla="*/ 0 w 216"/>
                    <a:gd name="T23" fmla="*/ 102 h 218"/>
                    <a:gd name="T24" fmla="*/ 3 w 216"/>
                    <a:gd name="T25" fmla="*/ 83 h 218"/>
                    <a:gd name="T26" fmla="*/ 10 w 216"/>
                    <a:gd name="T27" fmla="*/ 64 h 218"/>
                    <a:gd name="T28" fmla="*/ 22 w 216"/>
                    <a:gd name="T29" fmla="*/ 45 h 218"/>
                    <a:gd name="T30" fmla="*/ 22 w 216"/>
                    <a:gd name="T31" fmla="*/ 45 h 218"/>
                    <a:gd name="T32" fmla="*/ 29 w 216"/>
                    <a:gd name="T33" fmla="*/ 35 h 218"/>
                    <a:gd name="T34" fmla="*/ 38 w 216"/>
                    <a:gd name="T35" fmla="*/ 28 h 218"/>
                    <a:gd name="T36" fmla="*/ 46 w 216"/>
                    <a:gd name="T37" fmla="*/ 21 h 218"/>
                    <a:gd name="T38" fmla="*/ 55 w 216"/>
                    <a:gd name="T39" fmla="*/ 14 h 218"/>
                    <a:gd name="T40" fmla="*/ 65 w 216"/>
                    <a:gd name="T41" fmla="*/ 9 h 218"/>
                    <a:gd name="T42" fmla="*/ 75 w 216"/>
                    <a:gd name="T43" fmla="*/ 6 h 218"/>
                    <a:gd name="T44" fmla="*/ 86 w 216"/>
                    <a:gd name="T45" fmla="*/ 2 h 218"/>
                    <a:gd name="T46" fmla="*/ 96 w 216"/>
                    <a:gd name="T47" fmla="*/ 0 h 218"/>
                    <a:gd name="T48" fmla="*/ 108 w 216"/>
                    <a:gd name="T49" fmla="*/ 0 h 218"/>
                    <a:gd name="T50" fmla="*/ 118 w 216"/>
                    <a:gd name="T51" fmla="*/ 0 h 218"/>
                    <a:gd name="T52" fmla="*/ 128 w 216"/>
                    <a:gd name="T53" fmla="*/ 2 h 218"/>
                    <a:gd name="T54" fmla="*/ 139 w 216"/>
                    <a:gd name="T55" fmla="*/ 6 h 218"/>
                    <a:gd name="T56" fmla="*/ 151 w 216"/>
                    <a:gd name="T57" fmla="*/ 9 h 218"/>
                    <a:gd name="T58" fmla="*/ 159 w 216"/>
                    <a:gd name="T59" fmla="*/ 12 h 218"/>
                    <a:gd name="T60" fmla="*/ 170 w 216"/>
                    <a:gd name="T61" fmla="*/ 19 h 218"/>
                    <a:gd name="T62" fmla="*/ 178 w 216"/>
                    <a:gd name="T63" fmla="*/ 26 h 218"/>
                    <a:gd name="T64" fmla="*/ 178 w 216"/>
                    <a:gd name="T65" fmla="*/ 26 h 218"/>
                    <a:gd name="T66" fmla="*/ 190 w 216"/>
                    <a:gd name="T67" fmla="*/ 38 h 218"/>
                    <a:gd name="T68" fmla="*/ 200 w 216"/>
                    <a:gd name="T69" fmla="*/ 54 h 218"/>
                    <a:gd name="T70" fmla="*/ 209 w 216"/>
                    <a:gd name="T71" fmla="*/ 69 h 218"/>
                    <a:gd name="T72" fmla="*/ 214 w 216"/>
                    <a:gd name="T73" fmla="*/ 86 h 218"/>
                    <a:gd name="T74" fmla="*/ 216 w 216"/>
                    <a:gd name="T75" fmla="*/ 103 h 218"/>
                    <a:gd name="T76" fmla="*/ 216 w 216"/>
                    <a:gd name="T77" fmla="*/ 122 h 218"/>
                    <a:gd name="T78" fmla="*/ 212 w 216"/>
                    <a:gd name="T79" fmla="*/ 139 h 218"/>
                    <a:gd name="T80" fmla="*/ 206 w 216"/>
                    <a:gd name="T81" fmla="*/ 156 h 218"/>
                    <a:gd name="T82" fmla="*/ 206 w 216"/>
                    <a:gd name="T83" fmla="*/ 156 h 218"/>
                    <a:gd name="T84" fmla="*/ 197 w 216"/>
                    <a:gd name="T85" fmla="*/ 168 h 218"/>
                    <a:gd name="T86" fmla="*/ 188 w 216"/>
                    <a:gd name="T87" fmla="*/ 180 h 218"/>
                    <a:gd name="T88" fmla="*/ 178 w 216"/>
                    <a:gd name="T89" fmla="*/ 189 h 218"/>
                    <a:gd name="T90" fmla="*/ 168 w 216"/>
                    <a:gd name="T91" fmla="*/ 198 h 218"/>
                    <a:gd name="T92" fmla="*/ 156 w 216"/>
                    <a:gd name="T93" fmla="*/ 204 h 218"/>
                    <a:gd name="T94" fmla="*/ 144 w 216"/>
                    <a:gd name="T95" fmla="*/ 210 h 218"/>
                    <a:gd name="T96" fmla="*/ 130 w 216"/>
                    <a:gd name="T97" fmla="*/ 215 h 218"/>
                    <a:gd name="T98" fmla="*/ 116 w 216"/>
                    <a:gd name="T99" fmla="*/ 218 h 218"/>
                    <a:gd name="T100" fmla="*/ 101 w 216"/>
                    <a:gd name="T101" fmla="*/ 218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216" h="218">
                      <a:moveTo>
                        <a:pt x="101" y="218"/>
                      </a:moveTo>
                      <a:lnTo>
                        <a:pt x="101" y="218"/>
                      </a:lnTo>
                      <a:lnTo>
                        <a:pt x="82" y="213"/>
                      </a:lnTo>
                      <a:lnTo>
                        <a:pt x="67" y="208"/>
                      </a:lnTo>
                      <a:lnTo>
                        <a:pt x="50" y="199"/>
                      </a:lnTo>
                      <a:lnTo>
                        <a:pt x="36" y="187"/>
                      </a:lnTo>
                      <a:lnTo>
                        <a:pt x="36" y="187"/>
                      </a:lnTo>
                      <a:lnTo>
                        <a:pt x="22" y="174"/>
                      </a:lnTo>
                      <a:lnTo>
                        <a:pt x="12" y="158"/>
                      </a:lnTo>
                      <a:lnTo>
                        <a:pt x="5" y="139"/>
                      </a:lnTo>
                      <a:lnTo>
                        <a:pt x="2" y="122"/>
                      </a:lnTo>
                      <a:lnTo>
                        <a:pt x="0" y="102"/>
                      </a:lnTo>
                      <a:lnTo>
                        <a:pt x="3" y="83"/>
                      </a:lnTo>
                      <a:lnTo>
                        <a:pt x="10" y="64"/>
                      </a:lnTo>
                      <a:lnTo>
                        <a:pt x="22" y="45"/>
                      </a:lnTo>
                      <a:lnTo>
                        <a:pt x="22" y="45"/>
                      </a:lnTo>
                      <a:lnTo>
                        <a:pt x="29" y="35"/>
                      </a:lnTo>
                      <a:lnTo>
                        <a:pt x="38" y="28"/>
                      </a:lnTo>
                      <a:lnTo>
                        <a:pt x="46" y="21"/>
                      </a:lnTo>
                      <a:lnTo>
                        <a:pt x="55" y="14"/>
                      </a:lnTo>
                      <a:lnTo>
                        <a:pt x="65" y="9"/>
                      </a:lnTo>
                      <a:lnTo>
                        <a:pt x="75" y="6"/>
                      </a:lnTo>
                      <a:lnTo>
                        <a:pt x="86" y="2"/>
                      </a:lnTo>
                      <a:lnTo>
                        <a:pt x="96" y="0"/>
                      </a:lnTo>
                      <a:lnTo>
                        <a:pt x="108" y="0"/>
                      </a:lnTo>
                      <a:lnTo>
                        <a:pt x="118" y="0"/>
                      </a:lnTo>
                      <a:lnTo>
                        <a:pt x="128" y="2"/>
                      </a:lnTo>
                      <a:lnTo>
                        <a:pt x="139" y="6"/>
                      </a:lnTo>
                      <a:lnTo>
                        <a:pt x="151" y="9"/>
                      </a:lnTo>
                      <a:lnTo>
                        <a:pt x="159" y="12"/>
                      </a:lnTo>
                      <a:lnTo>
                        <a:pt x="170" y="19"/>
                      </a:lnTo>
                      <a:lnTo>
                        <a:pt x="178" y="26"/>
                      </a:lnTo>
                      <a:lnTo>
                        <a:pt x="178" y="26"/>
                      </a:lnTo>
                      <a:lnTo>
                        <a:pt x="190" y="38"/>
                      </a:lnTo>
                      <a:lnTo>
                        <a:pt x="200" y="54"/>
                      </a:lnTo>
                      <a:lnTo>
                        <a:pt x="209" y="69"/>
                      </a:lnTo>
                      <a:lnTo>
                        <a:pt x="214" y="86"/>
                      </a:lnTo>
                      <a:lnTo>
                        <a:pt x="216" y="103"/>
                      </a:lnTo>
                      <a:lnTo>
                        <a:pt x="216" y="122"/>
                      </a:lnTo>
                      <a:lnTo>
                        <a:pt x="212" y="139"/>
                      </a:lnTo>
                      <a:lnTo>
                        <a:pt x="206" y="156"/>
                      </a:lnTo>
                      <a:lnTo>
                        <a:pt x="206" y="156"/>
                      </a:lnTo>
                      <a:lnTo>
                        <a:pt x="197" y="168"/>
                      </a:lnTo>
                      <a:lnTo>
                        <a:pt x="188" y="180"/>
                      </a:lnTo>
                      <a:lnTo>
                        <a:pt x="178" y="189"/>
                      </a:lnTo>
                      <a:lnTo>
                        <a:pt x="168" y="198"/>
                      </a:lnTo>
                      <a:lnTo>
                        <a:pt x="156" y="204"/>
                      </a:lnTo>
                      <a:lnTo>
                        <a:pt x="144" y="210"/>
                      </a:lnTo>
                      <a:lnTo>
                        <a:pt x="130" y="215"/>
                      </a:lnTo>
                      <a:lnTo>
                        <a:pt x="116" y="218"/>
                      </a:lnTo>
                      <a:lnTo>
                        <a:pt x="101" y="21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  <p:sp>
              <p:nvSpPr>
                <p:cNvPr id="36" name="Freeform 43">
                  <a:extLst>
                    <a:ext uri="{FF2B5EF4-FFF2-40B4-BE49-F238E27FC236}">
                      <a16:creationId xmlns:a16="http://schemas.microsoft.com/office/drawing/2014/main" id="{2FB55FF7-DCFF-4E02-95F4-13A8E14915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34730" y="1284448"/>
                  <a:ext cx="171450" cy="173038"/>
                </a:xfrm>
                <a:custGeom>
                  <a:avLst/>
                  <a:gdLst>
                    <a:gd name="T0" fmla="*/ 98 w 216"/>
                    <a:gd name="T1" fmla="*/ 218 h 218"/>
                    <a:gd name="T2" fmla="*/ 98 w 216"/>
                    <a:gd name="T3" fmla="*/ 218 h 218"/>
                    <a:gd name="T4" fmla="*/ 67 w 216"/>
                    <a:gd name="T5" fmla="*/ 208 h 218"/>
                    <a:gd name="T6" fmla="*/ 53 w 216"/>
                    <a:gd name="T7" fmla="*/ 201 h 218"/>
                    <a:gd name="T8" fmla="*/ 38 w 216"/>
                    <a:gd name="T9" fmla="*/ 191 h 218"/>
                    <a:gd name="T10" fmla="*/ 38 w 216"/>
                    <a:gd name="T11" fmla="*/ 191 h 218"/>
                    <a:gd name="T12" fmla="*/ 29 w 216"/>
                    <a:gd name="T13" fmla="*/ 182 h 218"/>
                    <a:gd name="T14" fmla="*/ 21 w 216"/>
                    <a:gd name="T15" fmla="*/ 174 h 218"/>
                    <a:gd name="T16" fmla="*/ 16 w 216"/>
                    <a:gd name="T17" fmla="*/ 163 h 218"/>
                    <a:gd name="T18" fmla="*/ 9 w 216"/>
                    <a:gd name="T19" fmla="*/ 153 h 218"/>
                    <a:gd name="T20" fmla="*/ 5 w 216"/>
                    <a:gd name="T21" fmla="*/ 143 h 218"/>
                    <a:gd name="T22" fmla="*/ 2 w 216"/>
                    <a:gd name="T23" fmla="*/ 131 h 218"/>
                    <a:gd name="T24" fmla="*/ 0 w 216"/>
                    <a:gd name="T25" fmla="*/ 119 h 218"/>
                    <a:gd name="T26" fmla="*/ 0 w 216"/>
                    <a:gd name="T27" fmla="*/ 107 h 218"/>
                    <a:gd name="T28" fmla="*/ 0 w 216"/>
                    <a:gd name="T29" fmla="*/ 107 h 218"/>
                    <a:gd name="T30" fmla="*/ 2 w 216"/>
                    <a:gd name="T31" fmla="*/ 88 h 218"/>
                    <a:gd name="T32" fmla="*/ 7 w 216"/>
                    <a:gd name="T33" fmla="*/ 71 h 218"/>
                    <a:gd name="T34" fmla="*/ 14 w 216"/>
                    <a:gd name="T35" fmla="*/ 54 h 218"/>
                    <a:gd name="T36" fmla="*/ 24 w 216"/>
                    <a:gd name="T37" fmla="*/ 38 h 218"/>
                    <a:gd name="T38" fmla="*/ 38 w 216"/>
                    <a:gd name="T39" fmla="*/ 26 h 218"/>
                    <a:gd name="T40" fmla="*/ 52 w 216"/>
                    <a:gd name="T41" fmla="*/ 16 h 218"/>
                    <a:gd name="T42" fmla="*/ 69 w 216"/>
                    <a:gd name="T43" fmla="*/ 7 h 218"/>
                    <a:gd name="T44" fmla="*/ 88 w 216"/>
                    <a:gd name="T45" fmla="*/ 2 h 218"/>
                    <a:gd name="T46" fmla="*/ 88 w 216"/>
                    <a:gd name="T47" fmla="*/ 2 h 218"/>
                    <a:gd name="T48" fmla="*/ 101 w 216"/>
                    <a:gd name="T49" fmla="*/ 0 h 218"/>
                    <a:gd name="T50" fmla="*/ 115 w 216"/>
                    <a:gd name="T51" fmla="*/ 0 h 218"/>
                    <a:gd name="T52" fmla="*/ 129 w 216"/>
                    <a:gd name="T53" fmla="*/ 2 h 218"/>
                    <a:gd name="T54" fmla="*/ 142 w 216"/>
                    <a:gd name="T55" fmla="*/ 6 h 218"/>
                    <a:gd name="T56" fmla="*/ 154 w 216"/>
                    <a:gd name="T57" fmla="*/ 11 h 218"/>
                    <a:gd name="T58" fmla="*/ 166 w 216"/>
                    <a:gd name="T59" fmla="*/ 18 h 218"/>
                    <a:gd name="T60" fmla="*/ 177 w 216"/>
                    <a:gd name="T61" fmla="*/ 26 h 218"/>
                    <a:gd name="T62" fmla="*/ 187 w 216"/>
                    <a:gd name="T63" fmla="*/ 35 h 218"/>
                    <a:gd name="T64" fmla="*/ 195 w 216"/>
                    <a:gd name="T65" fmla="*/ 45 h 218"/>
                    <a:gd name="T66" fmla="*/ 202 w 216"/>
                    <a:gd name="T67" fmla="*/ 57 h 218"/>
                    <a:gd name="T68" fmla="*/ 207 w 216"/>
                    <a:gd name="T69" fmla="*/ 69 h 218"/>
                    <a:gd name="T70" fmla="*/ 213 w 216"/>
                    <a:gd name="T71" fmla="*/ 81 h 218"/>
                    <a:gd name="T72" fmla="*/ 214 w 216"/>
                    <a:gd name="T73" fmla="*/ 95 h 218"/>
                    <a:gd name="T74" fmla="*/ 216 w 216"/>
                    <a:gd name="T75" fmla="*/ 108 h 218"/>
                    <a:gd name="T76" fmla="*/ 214 w 216"/>
                    <a:gd name="T77" fmla="*/ 124 h 218"/>
                    <a:gd name="T78" fmla="*/ 213 w 216"/>
                    <a:gd name="T79" fmla="*/ 138 h 218"/>
                    <a:gd name="T80" fmla="*/ 213 w 216"/>
                    <a:gd name="T81" fmla="*/ 138 h 218"/>
                    <a:gd name="T82" fmla="*/ 206 w 216"/>
                    <a:gd name="T83" fmla="*/ 153 h 218"/>
                    <a:gd name="T84" fmla="*/ 199 w 216"/>
                    <a:gd name="T85" fmla="*/ 167 h 218"/>
                    <a:gd name="T86" fmla="*/ 190 w 216"/>
                    <a:gd name="T87" fmla="*/ 179 h 218"/>
                    <a:gd name="T88" fmla="*/ 180 w 216"/>
                    <a:gd name="T89" fmla="*/ 189 h 218"/>
                    <a:gd name="T90" fmla="*/ 170 w 216"/>
                    <a:gd name="T91" fmla="*/ 198 h 218"/>
                    <a:gd name="T92" fmla="*/ 156 w 216"/>
                    <a:gd name="T93" fmla="*/ 204 h 218"/>
                    <a:gd name="T94" fmla="*/ 142 w 216"/>
                    <a:gd name="T95" fmla="*/ 211 h 218"/>
                    <a:gd name="T96" fmla="*/ 127 w 216"/>
                    <a:gd name="T97" fmla="*/ 215 h 218"/>
                    <a:gd name="T98" fmla="*/ 127 w 216"/>
                    <a:gd name="T99" fmla="*/ 215 h 218"/>
                    <a:gd name="T100" fmla="*/ 118 w 216"/>
                    <a:gd name="T101" fmla="*/ 218 h 218"/>
                    <a:gd name="T102" fmla="*/ 98 w 216"/>
                    <a:gd name="T103" fmla="*/ 218 h 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16" h="218">
                      <a:moveTo>
                        <a:pt x="98" y="218"/>
                      </a:moveTo>
                      <a:lnTo>
                        <a:pt x="98" y="218"/>
                      </a:lnTo>
                      <a:lnTo>
                        <a:pt x="67" y="208"/>
                      </a:lnTo>
                      <a:lnTo>
                        <a:pt x="53" y="201"/>
                      </a:lnTo>
                      <a:lnTo>
                        <a:pt x="38" y="191"/>
                      </a:lnTo>
                      <a:lnTo>
                        <a:pt x="38" y="191"/>
                      </a:lnTo>
                      <a:lnTo>
                        <a:pt x="29" y="182"/>
                      </a:lnTo>
                      <a:lnTo>
                        <a:pt x="21" y="174"/>
                      </a:lnTo>
                      <a:lnTo>
                        <a:pt x="16" y="163"/>
                      </a:lnTo>
                      <a:lnTo>
                        <a:pt x="9" y="153"/>
                      </a:lnTo>
                      <a:lnTo>
                        <a:pt x="5" y="143"/>
                      </a:lnTo>
                      <a:lnTo>
                        <a:pt x="2" y="131"/>
                      </a:lnTo>
                      <a:lnTo>
                        <a:pt x="0" y="119"/>
                      </a:lnTo>
                      <a:lnTo>
                        <a:pt x="0" y="107"/>
                      </a:lnTo>
                      <a:lnTo>
                        <a:pt x="0" y="107"/>
                      </a:lnTo>
                      <a:lnTo>
                        <a:pt x="2" y="88"/>
                      </a:lnTo>
                      <a:lnTo>
                        <a:pt x="7" y="71"/>
                      </a:lnTo>
                      <a:lnTo>
                        <a:pt x="14" y="54"/>
                      </a:lnTo>
                      <a:lnTo>
                        <a:pt x="24" y="38"/>
                      </a:lnTo>
                      <a:lnTo>
                        <a:pt x="38" y="26"/>
                      </a:lnTo>
                      <a:lnTo>
                        <a:pt x="52" y="16"/>
                      </a:lnTo>
                      <a:lnTo>
                        <a:pt x="69" y="7"/>
                      </a:lnTo>
                      <a:lnTo>
                        <a:pt x="88" y="2"/>
                      </a:lnTo>
                      <a:lnTo>
                        <a:pt x="88" y="2"/>
                      </a:lnTo>
                      <a:lnTo>
                        <a:pt x="101" y="0"/>
                      </a:lnTo>
                      <a:lnTo>
                        <a:pt x="115" y="0"/>
                      </a:lnTo>
                      <a:lnTo>
                        <a:pt x="129" y="2"/>
                      </a:lnTo>
                      <a:lnTo>
                        <a:pt x="142" y="6"/>
                      </a:lnTo>
                      <a:lnTo>
                        <a:pt x="154" y="11"/>
                      </a:lnTo>
                      <a:lnTo>
                        <a:pt x="166" y="18"/>
                      </a:lnTo>
                      <a:lnTo>
                        <a:pt x="177" y="26"/>
                      </a:lnTo>
                      <a:lnTo>
                        <a:pt x="187" y="35"/>
                      </a:lnTo>
                      <a:lnTo>
                        <a:pt x="195" y="45"/>
                      </a:lnTo>
                      <a:lnTo>
                        <a:pt x="202" y="57"/>
                      </a:lnTo>
                      <a:lnTo>
                        <a:pt x="207" y="69"/>
                      </a:lnTo>
                      <a:lnTo>
                        <a:pt x="213" y="81"/>
                      </a:lnTo>
                      <a:lnTo>
                        <a:pt x="214" y="95"/>
                      </a:lnTo>
                      <a:lnTo>
                        <a:pt x="216" y="108"/>
                      </a:lnTo>
                      <a:lnTo>
                        <a:pt x="214" y="124"/>
                      </a:lnTo>
                      <a:lnTo>
                        <a:pt x="213" y="138"/>
                      </a:lnTo>
                      <a:lnTo>
                        <a:pt x="213" y="138"/>
                      </a:lnTo>
                      <a:lnTo>
                        <a:pt x="206" y="153"/>
                      </a:lnTo>
                      <a:lnTo>
                        <a:pt x="199" y="167"/>
                      </a:lnTo>
                      <a:lnTo>
                        <a:pt x="190" y="179"/>
                      </a:lnTo>
                      <a:lnTo>
                        <a:pt x="180" y="189"/>
                      </a:lnTo>
                      <a:lnTo>
                        <a:pt x="170" y="198"/>
                      </a:lnTo>
                      <a:lnTo>
                        <a:pt x="156" y="204"/>
                      </a:lnTo>
                      <a:lnTo>
                        <a:pt x="142" y="211"/>
                      </a:lnTo>
                      <a:lnTo>
                        <a:pt x="127" y="215"/>
                      </a:lnTo>
                      <a:lnTo>
                        <a:pt x="127" y="215"/>
                      </a:lnTo>
                      <a:lnTo>
                        <a:pt x="118" y="218"/>
                      </a:lnTo>
                      <a:lnTo>
                        <a:pt x="98" y="218"/>
                      </a:lnTo>
                      <a:close/>
                    </a:path>
                  </a:pathLst>
                </a:custGeom>
                <a:solidFill>
                  <a:schemeClr val="tx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/>
                </a:p>
              </p:txBody>
            </p:sp>
          </p:grp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13C7CA5-3EA9-F447-B446-F3CF462616FE}"/>
              </a:ext>
            </a:extLst>
          </p:cNvPr>
          <p:cNvGrpSpPr/>
          <p:nvPr/>
        </p:nvGrpSpPr>
        <p:grpSpPr>
          <a:xfrm>
            <a:off x="8718025" y="1939791"/>
            <a:ext cx="3769936" cy="4030343"/>
            <a:chOff x="8474185" y="1970271"/>
            <a:chExt cx="3769936" cy="4030343"/>
          </a:xfrm>
        </p:grpSpPr>
        <p:sp>
          <p:nvSpPr>
            <p:cNvPr id="40" name="Text Placeholder 16">
              <a:extLst>
                <a:ext uri="{FF2B5EF4-FFF2-40B4-BE49-F238E27FC236}">
                  <a16:creationId xmlns:a16="http://schemas.microsoft.com/office/drawing/2014/main" id="{C3385C3A-8231-4C2C-9F5B-C1C8265ED80F}"/>
                </a:ext>
              </a:extLst>
            </p:cNvPr>
            <p:cNvSpPr txBox="1">
              <a:spLocks/>
            </p:cNvSpPr>
            <p:nvPr/>
          </p:nvSpPr>
          <p:spPr>
            <a:xfrm>
              <a:off x="9715104" y="4665942"/>
              <a:ext cx="1288099" cy="615553"/>
            </a:xfrm>
            <a:prstGeom prst="rect">
              <a:avLst/>
            </a:prstGeom>
          </p:spPr>
          <p:txBody>
            <a:bodyPr/>
            <a:lstStyle>
              <a:lvl1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000" b="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645074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5997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6920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87842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 typeface="Arial"/>
                <a:buNone/>
                <a:tabLst/>
                <a:defRPr/>
              </a:pPr>
              <a:r>
                <a:rPr lang="en-US" sz="4400" b="0" dirty="0">
                  <a:latin typeface="Impact" panose="020B0806030902050204" pitchFamily="34" charset="0"/>
                </a:rPr>
                <a:t>34</a:t>
              </a:r>
              <a:r>
                <a:rPr kumimoji="0" lang="en-US" sz="4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mpact" panose="020B0806030902050204" pitchFamily="34" charset="0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43" name="Text Placeholder 21">
              <a:extLst>
                <a:ext uri="{FF2B5EF4-FFF2-40B4-BE49-F238E27FC236}">
                  <a16:creationId xmlns:a16="http://schemas.microsoft.com/office/drawing/2014/main" id="{E839350F-5EAE-408E-8A9E-25FF31FB2C32}"/>
                </a:ext>
              </a:extLst>
            </p:cNvPr>
            <p:cNvSpPr txBox="1">
              <a:spLocks/>
            </p:cNvSpPr>
            <p:nvPr/>
          </p:nvSpPr>
          <p:spPr>
            <a:xfrm>
              <a:off x="8474185" y="5590245"/>
              <a:ext cx="3769936" cy="410369"/>
            </a:xfrm>
            <a:prstGeom prst="rect">
              <a:avLst/>
            </a:prstGeom>
          </p:spPr>
          <p:txBody>
            <a:bodyPr/>
            <a:lstStyle>
              <a:lvl1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000" b="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645074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5997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6920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87842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buClrTx/>
                <a:buSzTx/>
              </a:pPr>
              <a:r>
                <a:rPr lang="en-US" sz="1600" dirty="0">
                  <a:solidFill>
                    <a:srgbClr val="8A8A8D"/>
                  </a:solidFill>
                </a:rPr>
                <a:t>Go non-grocery shopping </a:t>
              </a:r>
            </a:p>
            <a:p>
              <a:pPr lvl="0" algn="ctr">
                <a:buClrTx/>
                <a:buSzTx/>
              </a:pPr>
              <a:r>
                <a:rPr lang="en-US" sz="1600" dirty="0">
                  <a:solidFill>
                    <a:srgbClr val="8A8A8D"/>
                  </a:solidFill>
                </a:rPr>
                <a:t>on the high street or online </a:t>
              </a:r>
            </a:p>
            <a:p>
              <a:pPr marL="0" marR="0" lvl="0" indent="0" algn="ctr" defTabSz="961844" rtl="0" eaLnBrk="1" fontAlgn="auto" latinLnBrk="0" hangingPunct="1">
                <a:lnSpc>
                  <a:spcPts val="12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en-US" sz="900" b="0" i="1" u="none" strike="noStrike" kern="1200" cap="none" spc="0" normalizeH="0" baseline="0" noProof="0" dirty="0">
                  <a:ln>
                    <a:noFill/>
                  </a:ln>
                  <a:solidFill>
                    <a:srgbClr val="8A8A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Index: 206)</a:t>
              </a:r>
              <a:r>
                <a:rPr kumimoji="0" lang="en-US" sz="900" b="1" i="1" u="none" strike="noStrike" kern="1200" cap="none" spc="0" normalizeH="0" baseline="0" noProof="0" dirty="0">
                  <a:ln>
                    <a:noFill/>
                  </a:ln>
                  <a:solidFill>
                    <a:srgbClr val="8A8A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000BFCE8-95C8-47EE-82A8-94076CC60DA3}"/>
                </a:ext>
              </a:extLst>
            </p:cNvPr>
            <p:cNvGrpSpPr/>
            <p:nvPr/>
          </p:nvGrpSpPr>
          <p:grpSpPr>
            <a:xfrm>
              <a:off x="9168360" y="1970271"/>
              <a:ext cx="2381587" cy="2388417"/>
              <a:chOff x="7088345" y="2120051"/>
              <a:chExt cx="1827667" cy="1827667"/>
            </a:xfrm>
          </p:grpSpPr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386C1060-01B8-49B5-8EDF-333A8F982F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088345" y="2120051"/>
                <a:ext cx="1827667" cy="1827667"/>
              </a:xfrm>
              <a:prstGeom prst="rect">
                <a:avLst/>
              </a:prstGeom>
            </p:spPr>
          </p:pic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722AC4A8-B090-4549-B571-B78C629FBB93}"/>
                  </a:ext>
                </a:extLst>
              </p:cNvPr>
              <p:cNvSpPr/>
              <p:nvPr/>
            </p:nvSpPr>
            <p:spPr>
              <a:xfrm>
                <a:off x="7225564" y="2269429"/>
                <a:ext cx="1528910" cy="152891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Freeform 17">
                <a:extLst>
                  <a:ext uri="{FF2B5EF4-FFF2-40B4-BE49-F238E27FC236}">
                    <a16:creationId xmlns:a16="http://schemas.microsoft.com/office/drawing/2014/main" id="{BDE719FB-773D-4DB1-91BB-4E0D0A84714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10156" y="2440666"/>
                <a:ext cx="759726" cy="1119455"/>
              </a:xfrm>
              <a:custGeom>
                <a:avLst/>
                <a:gdLst>
                  <a:gd name="T0" fmla="*/ 374 w 1133"/>
                  <a:gd name="T1" fmla="*/ 177 h 1668"/>
                  <a:gd name="T2" fmla="*/ 381 w 1133"/>
                  <a:gd name="T3" fmla="*/ 141 h 1668"/>
                  <a:gd name="T4" fmla="*/ 393 w 1133"/>
                  <a:gd name="T5" fmla="*/ 108 h 1668"/>
                  <a:gd name="T6" fmla="*/ 412 w 1133"/>
                  <a:gd name="T7" fmla="*/ 77 h 1668"/>
                  <a:gd name="T8" fmla="*/ 436 w 1133"/>
                  <a:gd name="T9" fmla="*/ 51 h 1668"/>
                  <a:gd name="T10" fmla="*/ 463 w 1133"/>
                  <a:gd name="T11" fmla="*/ 29 h 1668"/>
                  <a:gd name="T12" fmla="*/ 496 w 1133"/>
                  <a:gd name="T13" fmla="*/ 14 h 1668"/>
                  <a:gd name="T14" fmla="*/ 530 w 1133"/>
                  <a:gd name="T15" fmla="*/ 3 h 1668"/>
                  <a:gd name="T16" fmla="*/ 566 w 1133"/>
                  <a:gd name="T17" fmla="*/ 0 h 1668"/>
                  <a:gd name="T18" fmla="*/ 585 w 1133"/>
                  <a:gd name="T19" fmla="*/ 0 h 1668"/>
                  <a:gd name="T20" fmla="*/ 621 w 1133"/>
                  <a:gd name="T21" fmla="*/ 7 h 1668"/>
                  <a:gd name="T22" fmla="*/ 655 w 1133"/>
                  <a:gd name="T23" fmla="*/ 21 h 1668"/>
                  <a:gd name="T24" fmla="*/ 684 w 1133"/>
                  <a:gd name="T25" fmla="*/ 39 h 1668"/>
                  <a:gd name="T26" fmla="*/ 710 w 1133"/>
                  <a:gd name="T27" fmla="*/ 63 h 1668"/>
                  <a:gd name="T28" fmla="*/ 730 w 1133"/>
                  <a:gd name="T29" fmla="*/ 91 h 1668"/>
                  <a:gd name="T30" fmla="*/ 747 w 1133"/>
                  <a:gd name="T31" fmla="*/ 123 h 1668"/>
                  <a:gd name="T32" fmla="*/ 756 w 1133"/>
                  <a:gd name="T33" fmla="*/ 159 h 1668"/>
                  <a:gd name="T34" fmla="*/ 771 w 1133"/>
                  <a:gd name="T35" fmla="*/ 387 h 1668"/>
                  <a:gd name="T36" fmla="*/ 669 w 1133"/>
                  <a:gd name="T37" fmla="*/ 183 h 1668"/>
                  <a:gd name="T38" fmla="*/ 665 w 1133"/>
                  <a:gd name="T39" fmla="*/ 165 h 1668"/>
                  <a:gd name="T40" fmla="*/ 648 w 1133"/>
                  <a:gd name="T41" fmla="*/ 132 h 1668"/>
                  <a:gd name="T42" fmla="*/ 621 w 1133"/>
                  <a:gd name="T43" fmla="*/ 106 h 1668"/>
                  <a:gd name="T44" fmla="*/ 586 w 1133"/>
                  <a:gd name="T45" fmla="*/ 93 h 1668"/>
                  <a:gd name="T46" fmla="*/ 566 w 1133"/>
                  <a:gd name="T47" fmla="*/ 91 h 1668"/>
                  <a:gd name="T48" fmla="*/ 528 w 1133"/>
                  <a:gd name="T49" fmla="*/ 98 h 1668"/>
                  <a:gd name="T50" fmla="*/ 497 w 1133"/>
                  <a:gd name="T51" fmla="*/ 118 h 1668"/>
                  <a:gd name="T52" fmla="*/ 475 w 1133"/>
                  <a:gd name="T53" fmla="*/ 147 h 1668"/>
                  <a:gd name="T54" fmla="*/ 465 w 1133"/>
                  <a:gd name="T55" fmla="*/ 183 h 1668"/>
                  <a:gd name="T56" fmla="*/ 362 w 1133"/>
                  <a:gd name="T57" fmla="*/ 387 h 1668"/>
                  <a:gd name="T58" fmla="*/ 1133 w 1133"/>
                  <a:gd name="T59" fmla="*/ 1668 h 1668"/>
                  <a:gd name="T60" fmla="*/ 0 w 1133"/>
                  <a:gd name="T61" fmla="*/ 478 h 1668"/>
                  <a:gd name="T62" fmla="*/ 1133 w 1133"/>
                  <a:gd name="T63" fmla="*/ 1668 h 16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133" h="1668">
                    <a:moveTo>
                      <a:pt x="374" y="177"/>
                    </a:moveTo>
                    <a:lnTo>
                      <a:pt x="374" y="177"/>
                    </a:lnTo>
                    <a:lnTo>
                      <a:pt x="377" y="158"/>
                    </a:lnTo>
                    <a:lnTo>
                      <a:pt x="381" y="141"/>
                    </a:lnTo>
                    <a:lnTo>
                      <a:pt x="386" y="123"/>
                    </a:lnTo>
                    <a:lnTo>
                      <a:pt x="393" y="108"/>
                    </a:lnTo>
                    <a:lnTo>
                      <a:pt x="401" y="91"/>
                    </a:lnTo>
                    <a:lnTo>
                      <a:pt x="412" y="77"/>
                    </a:lnTo>
                    <a:lnTo>
                      <a:pt x="424" y="63"/>
                    </a:lnTo>
                    <a:lnTo>
                      <a:pt x="436" y="51"/>
                    </a:lnTo>
                    <a:lnTo>
                      <a:pt x="449" y="39"/>
                    </a:lnTo>
                    <a:lnTo>
                      <a:pt x="463" y="29"/>
                    </a:lnTo>
                    <a:lnTo>
                      <a:pt x="478" y="21"/>
                    </a:lnTo>
                    <a:lnTo>
                      <a:pt x="496" y="14"/>
                    </a:lnTo>
                    <a:lnTo>
                      <a:pt x="513" y="7"/>
                    </a:lnTo>
                    <a:lnTo>
                      <a:pt x="530" y="3"/>
                    </a:lnTo>
                    <a:lnTo>
                      <a:pt x="547" y="0"/>
                    </a:lnTo>
                    <a:lnTo>
                      <a:pt x="566" y="0"/>
                    </a:lnTo>
                    <a:lnTo>
                      <a:pt x="566" y="0"/>
                    </a:lnTo>
                    <a:lnTo>
                      <a:pt x="585" y="0"/>
                    </a:lnTo>
                    <a:lnTo>
                      <a:pt x="604" y="3"/>
                    </a:lnTo>
                    <a:lnTo>
                      <a:pt x="621" y="7"/>
                    </a:lnTo>
                    <a:lnTo>
                      <a:pt x="638" y="14"/>
                    </a:lnTo>
                    <a:lnTo>
                      <a:pt x="655" y="21"/>
                    </a:lnTo>
                    <a:lnTo>
                      <a:pt x="670" y="29"/>
                    </a:lnTo>
                    <a:lnTo>
                      <a:pt x="684" y="39"/>
                    </a:lnTo>
                    <a:lnTo>
                      <a:pt x="698" y="51"/>
                    </a:lnTo>
                    <a:lnTo>
                      <a:pt x="710" y="63"/>
                    </a:lnTo>
                    <a:lnTo>
                      <a:pt x="722" y="77"/>
                    </a:lnTo>
                    <a:lnTo>
                      <a:pt x="730" y="91"/>
                    </a:lnTo>
                    <a:lnTo>
                      <a:pt x="739" y="108"/>
                    </a:lnTo>
                    <a:lnTo>
                      <a:pt x="747" y="123"/>
                    </a:lnTo>
                    <a:lnTo>
                      <a:pt x="753" y="141"/>
                    </a:lnTo>
                    <a:lnTo>
                      <a:pt x="756" y="159"/>
                    </a:lnTo>
                    <a:lnTo>
                      <a:pt x="759" y="177"/>
                    </a:lnTo>
                    <a:lnTo>
                      <a:pt x="771" y="387"/>
                    </a:lnTo>
                    <a:lnTo>
                      <a:pt x="681" y="387"/>
                    </a:lnTo>
                    <a:lnTo>
                      <a:pt x="669" y="183"/>
                    </a:lnTo>
                    <a:lnTo>
                      <a:pt x="669" y="183"/>
                    </a:lnTo>
                    <a:lnTo>
                      <a:pt x="665" y="165"/>
                    </a:lnTo>
                    <a:lnTo>
                      <a:pt x="658" y="147"/>
                    </a:lnTo>
                    <a:lnTo>
                      <a:pt x="648" y="132"/>
                    </a:lnTo>
                    <a:lnTo>
                      <a:pt x="636" y="118"/>
                    </a:lnTo>
                    <a:lnTo>
                      <a:pt x="621" y="106"/>
                    </a:lnTo>
                    <a:lnTo>
                      <a:pt x="604" y="98"/>
                    </a:lnTo>
                    <a:lnTo>
                      <a:pt x="586" y="93"/>
                    </a:lnTo>
                    <a:lnTo>
                      <a:pt x="566" y="91"/>
                    </a:lnTo>
                    <a:lnTo>
                      <a:pt x="566" y="91"/>
                    </a:lnTo>
                    <a:lnTo>
                      <a:pt x="547" y="93"/>
                    </a:lnTo>
                    <a:lnTo>
                      <a:pt x="528" y="98"/>
                    </a:lnTo>
                    <a:lnTo>
                      <a:pt x="513" y="106"/>
                    </a:lnTo>
                    <a:lnTo>
                      <a:pt x="497" y="118"/>
                    </a:lnTo>
                    <a:lnTo>
                      <a:pt x="485" y="132"/>
                    </a:lnTo>
                    <a:lnTo>
                      <a:pt x="475" y="147"/>
                    </a:lnTo>
                    <a:lnTo>
                      <a:pt x="468" y="165"/>
                    </a:lnTo>
                    <a:lnTo>
                      <a:pt x="465" y="183"/>
                    </a:lnTo>
                    <a:lnTo>
                      <a:pt x="453" y="387"/>
                    </a:lnTo>
                    <a:lnTo>
                      <a:pt x="362" y="387"/>
                    </a:lnTo>
                    <a:lnTo>
                      <a:pt x="374" y="177"/>
                    </a:lnTo>
                    <a:close/>
                    <a:moveTo>
                      <a:pt x="1133" y="1668"/>
                    </a:moveTo>
                    <a:lnTo>
                      <a:pt x="0" y="1668"/>
                    </a:lnTo>
                    <a:lnTo>
                      <a:pt x="0" y="478"/>
                    </a:lnTo>
                    <a:lnTo>
                      <a:pt x="1133" y="478"/>
                    </a:lnTo>
                    <a:lnTo>
                      <a:pt x="1133" y="166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>
                  <a:solidFill>
                    <a:sysClr val="windowText" lastClr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852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63BAB9B-90CC-4A70-85CB-A60F965BC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 them with cinema in 2020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F691E94-CDC5-4414-938F-98CA8548E16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722249" y="3742433"/>
            <a:ext cx="1820121" cy="266284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Onward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68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B278B9-1341-445C-880C-3352D51F7A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96051" y="7261279"/>
            <a:ext cx="6802438" cy="12311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b="1" dirty="0"/>
              <a:t>Source: </a:t>
            </a:r>
            <a:r>
              <a:rPr lang="en-GB" dirty="0"/>
              <a:t>DCM Aston campaign planner.  Index vs. % of Housewives with children in UK population.  Based on Kantar TNS comparative film data   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AA96F5-0DD5-48B3-8E22-775B5A669E1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1297600" cy="436608"/>
          </a:xfrm>
        </p:spPr>
        <p:txBody>
          <a:bodyPr/>
          <a:lstStyle/>
          <a:p>
            <a:r>
              <a:rPr lang="en-GB" dirty="0"/>
              <a:t>Reach and engage this key buying audience with a range of highly anticipated releases throughout 2020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E304C76-18F4-442E-A9D3-89EF27558B3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820141" y="3742433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Peter Rabbit 2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72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733FC12-AB45-4D74-BE81-E865CB1D5C9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928487" y="3747062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Minions 2 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54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4503EA7-7994-4D40-AC47-ED3A841AFB4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031606" y="3735237"/>
            <a:ext cx="1794319" cy="232369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he One And Only Ivan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61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C73AC181-D8BA-42AF-BE05-8CFDFCDCE6A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10134724" y="3742433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he Witches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33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D631F20-A146-44F0-94A7-D83A4888A9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722248" y="6630511"/>
            <a:ext cx="1820121" cy="266284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rolls World Tour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84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9216D16-0F2F-45B2-AB2E-0221AD14A37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814913" y="6630511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Soul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53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CC1D12FD-5D26-4716-9D8F-1D2C97F14FB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Jungle Cruise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126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4E0B1EA-9A7C-4AD1-8EFF-E69A354BD51A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/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he Mitchells vs. The Machines </a:t>
            </a:r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(162 index)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CAFE6FD-17A5-4138-8E21-1C881C8058C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0134725" y="6627742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Raya And The Last Dragon </a:t>
            </a:r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(154 index)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390596" name="Picture Placeholder 1390595">
            <a:extLst>
              <a:ext uri="{FF2B5EF4-FFF2-40B4-BE49-F238E27FC236}">
                <a16:creationId xmlns:a16="http://schemas.microsoft.com/office/drawing/2014/main" id="{1C3585E1-FF5C-4EBD-B317-C9F2C448EC23}"/>
              </a:ext>
            </a:extLst>
          </p:cNvPr>
          <p:cNvPicPr>
            <a:picLocks noGrp="1" noChangeAspect="1"/>
          </p:cNvPicPr>
          <p:nvPr>
            <p:ph type="pic" sz="quarter" idx="34"/>
          </p:nvPr>
        </p:nvPicPr>
        <p:blipFill>
          <a:blip r:embed="rId3"/>
          <a:srcRect t="203" b="203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390598" name="Picture Placeholder 1390597">
            <a:extLst>
              <a:ext uri="{FF2B5EF4-FFF2-40B4-BE49-F238E27FC236}">
                <a16:creationId xmlns:a16="http://schemas.microsoft.com/office/drawing/2014/main" id="{6D4D0183-BD3C-460F-AEFF-3C3D1A7537CE}"/>
              </a:ext>
            </a:extLst>
          </p:cNvPr>
          <p:cNvPicPr>
            <a:picLocks noGrp="1" noChangeAspect="1"/>
          </p:cNvPicPr>
          <p:nvPr>
            <p:ph type="pic" sz="quarter" idx="37"/>
          </p:nvPr>
        </p:nvPicPr>
        <p:blipFill>
          <a:blip r:embed="rId4"/>
          <a:srcRect t="203" b="203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390600" name="Picture Placeholder 1390599">
            <a:extLst>
              <a:ext uri="{FF2B5EF4-FFF2-40B4-BE49-F238E27FC236}">
                <a16:creationId xmlns:a16="http://schemas.microsoft.com/office/drawing/2014/main" id="{A4C23D29-1EA0-41AF-A4F1-CED012E9C25C}"/>
              </a:ext>
            </a:extLst>
          </p:cNvPr>
          <p:cNvPicPr>
            <a:picLocks noGrp="1" noChangeAspect="1"/>
          </p:cNvPicPr>
          <p:nvPr>
            <p:ph type="pic" sz="quarter" idx="40"/>
          </p:nvPr>
        </p:nvPicPr>
        <p:blipFill>
          <a:blip r:embed="rId5"/>
          <a:srcRect l="4839" r="4839"/>
          <a:stretch>
            <a:fillRect/>
          </a:stretch>
        </p:blipFill>
        <p:spPr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pic>
        <p:nvPicPr>
          <p:cNvPr id="1390602" name="Picture Placeholder 1390601">
            <a:extLst>
              <a:ext uri="{FF2B5EF4-FFF2-40B4-BE49-F238E27FC236}">
                <a16:creationId xmlns:a16="http://schemas.microsoft.com/office/drawing/2014/main" id="{AB4E74C3-1458-4A07-A0F9-169C9B3FFFC1}"/>
              </a:ext>
            </a:extLst>
          </p:cNvPr>
          <p:cNvPicPr>
            <a:picLocks noGrp="1" noChangeAspect="1"/>
          </p:cNvPicPr>
          <p:nvPr>
            <p:ph type="pic" sz="quarter" idx="43"/>
          </p:nvPr>
        </p:nvPicPr>
        <p:blipFill>
          <a:blip r:embed="rId6"/>
          <a:srcRect t="1336" b="1336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390605" name="Picture Placeholder 1390604">
            <a:extLst>
              <a:ext uri="{FF2B5EF4-FFF2-40B4-BE49-F238E27FC236}">
                <a16:creationId xmlns:a16="http://schemas.microsoft.com/office/drawing/2014/main" id="{578E1DB3-0A27-4F2A-B3AF-D7BEE3C72EAD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7"/>
          <a:srcRect t="745" b="745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390606" name="Picture Placeholder 1390605">
            <a:extLst>
              <a:ext uri="{FF2B5EF4-FFF2-40B4-BE49-F238E27FC236}">
                <a16:creationId xmlns:a16="http://schemas.microsoft.com/office/drawing/2014/main" id="{185D57DA-BF22-4650-8DE3-7360A3E5BA50}"/>
              </a:ext>
            </a:extLst>
          </p:cNvPr>
          <p:cNvPicPr>
            <a:picLocks noGrp="1" noChangeAspect="1"/>
          </p:cNvPicPr>
          <p:nvPr>
            <p:ph type="pic" sz="quarter" idx="51"/>
          </p:nvPr>
        </p:nvPicPr>
        <p:blipFill rotWithShape="1">
          <a:blip r:embed="rId8"/>
          <a:srcRect l="14699" t="-27797" r="14699" b="-34010"/>
          <a:stretch/>
        </p:blipFill>
        <p:spPr>
          <a:xfrm>
            <a:off x="10134725" y="4179861"/>
            <a:ext cx="1599050" cy="236261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390604" name="Picture Placeholder 1390603">
            <a:extLst>
              <a:ext uri="{FF2B5EF4-FFF2-40B4-BE49-F238E27FC236}">
                <a16:creationId xmlns:a16="http://schemas.microsoft.com/office/drawing/2014/main" id="{EAEBEE9A-D11E-4702-86AC-FC7D92408E0F}"/>
              </a:ext>
            </a:extLst>
          </p:cNvPr>
          <p:cNvPicPr>
            <a:picLocks noGrp="1" noChangeAspect="1"/>
          </p:cNvPicPr>
          <p:nvPr>
            <p:ph type="pic" sz="quarter" idx="50"/>
          </p:nvPr>
        </p:nvPicPr>
        <p:blipFill>
          <a:blip r:embed="rId9"/>
          <a:srcRect l="5333" r="5333"/>
          <a:stretch>
            <a:fillRect/>
          </a:stretch>
        </p:blipFill>
        <p:spPr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pic>
        <p:nvPicPr>
          <p:cNvPr id="1390601" name="Picture Placeholder 1390600">
            <a:extLst>
              <a:ext uri="{FF2B5EF4-FFF2-40B4-BE49-F238E27FC236}">
                <a16:creationId xmlns:a16="http://schemas.microsoft.com/office/drawing/2014/main" id="{1AEDC02A-29FF-4AFD-8DD5-DDEF0C2FE836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>
          <a:blip r:embed="rId10"/>
          <a:srcRect t="179" b="179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390599" name="Picture Placeholder 1390598">
            <a:extLst>
              <a:ext uri="{FF2B5EF4-FFF2-40B4-BE49-F238E27FC236}">
                <a16:creationId xmlns:a16="http://schemas.microsoft.com/office/drawing/2014/main" id="{19187E68-5698-4EBD-9F81-F84B46309FD1}"/>
              </a:ext>
            </a:extLst>
          </p:cNvPr>
          <p:cNvPicPr>
            <a:picLocks noGrp="1" noChangeAspect="1"/>
          </p:cNvPicPr>
          <p:nvPr>
            <p:ph type="pic" sz="quarter" idx="48"/>
          </p:nvPr>
        </p:nvPicPr>
        <p:blipFill>
          <a:blip r:embed="rId11"/>
          <a:srcRect t="153" b="153"/>
          <a:stretch>
            <a:fillRect/>
          </a:stretch>
        </p:blipFill>
        <p:spPr>
          <a:prstGeom prst="rect">
            <a:avLst/>
          </a:prstGeom>
          <a:ln>
            <a:solidFill>
              <a:schemeClr val="accent5">
                <a:lumMod val="20000"/>
                <a:lumOff val="80000"/>
              </a:schemeClr>
            </a:solidFill>
          </a:ln>
        </p:spPr>
      </p:pic>
      <p:pic>
        <p:nvPicPr>
          <p:cNvPr id="1390597" name="Picture 2" descr="Trolls World Tour (2020)">
            <a:extLst>
              <a:ext uri="{FF2B5EF4-FFF2-40B4-BE49-F238E27FC236}">
                <a16:creationId xmlns:a16="http://schemas.microsoft.com/office/drawing/2014/main" id="{7ECE9C31-02EA-47E1-93F6-E24D0D015D29}"/>
              </a:ext>
            </a:extLst>
          </p:cNvPr>
          <p:cNvPicPr>
            <a:picLocks noGrp="1" noChangeAspect="1" noChangeArrowheads="1"/>
          </p:cNvPicPr>
          <p:nvPr>
            <p:ph type="pic" sz="quarter" idx="47"/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0" b="3380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2826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BB778CE-27A8-FA4D-8431-5CD28815424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281" t="-1" r="4344" b="-1"/>
          <a:stretch/>
        </p:blipFill>
        <p:spPr>
          <a:xfrm>
            <a:off x="0" y="0"/>
            <a:ext cx="13442950" cy="7091916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5E729BC5-68C8-44B4-9D69-C92F9E5503D8}"/>
              </a:ext>
            </a:extLst>
          </p:cNvPr>
          <p:cNvSpPr/>
          <p:nvPr/>
        </p:nvSpPr>
        <p:spPr>
          <a:xfrm>
            <a:off x="0" y="0"/>
            <a:ext cx="13442950" cy="7091916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itle 24">
            <a:extLst>
              <a:ext uri="{FF2B5EF4-FFF2-40B4-BE49-F238E27FC236}">
                <a16:creationId xmlns:a16="http://schemas.microsoft.com/office/drawing/2014/main" id="{43FB7F10-5FB5-484C-ABE9-61D0034A1B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Family products for family audience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72D64B9-29B6-48BA-BF48-55D69EF65C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Engage buying adults and activate pester power amongst the kids in the highly attentive cinema environment. </a:t>
            </a:r>
          </a:p>
          <a:p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1EFBBF95-8AD3-4147-950B-EB0F3A3C57E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04298" y="7191785"/>
            <a:ext cx="5463193" cy="246221"/>
          </a:xfrm>
        </p:spPr>
        <p:txBody>
          <a:bodyPr/>
          <a:lstStyle/>
          <a:p>
            <a:pPr lvl="0">
              <a:buClrTx/>
              <a:buSzTx/>
              <a:defRPr/>
            </a:pPr>
            <a:r>
              <a:rPr lang="en-GB" b="1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Source</a:t>
            </a:r>
            <a:r>
              <a:rPr lang="en-GB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: TGI Q2 2019.</a:t>
            </a:r>
          </a:p>
          <a:p>
            <a:pPr lvl="0">
              <a:buClrTx/>
              <a:buSzTx/>
              <a:defRPr/>
            </a:pPr>
            <a:r>
              <a:rPr lang="en-GB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Target: Main shoppers with children AND cinemagoers.  Index vs. average UK adult.</a:t>
            </a:r>
            <a:endParaRPr lang="en-US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C91DB83E-D382-4F0E-BCB5-70664EDD17A0}"/>
              </a:ext>
            </a:extLst>
          </p:cNvPr>
          <p:cNvSpPr/>
          <p:nvPr/>
        </p:nvSpPr>
        <p:spPr>
          <a:xfrm>
            <a:off x="270000" y="1478474"/>
            <a:ext cx="6383593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78% agree ‘shopping online makes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their lives easier’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25 vs. 62% of UK population)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AD29ADBC-9ECA-4E34-932D-8C8BABB4F2C9}"/>
              </a:ext>
            </a:extLst>
          </p:cNvPr>
          <p:cNvSpPr/>
          <p:nvPr/>
        </p:nvSpPr>
        <p:spPr>
          <a:xfrm>
            <a:off x="270000" y="3114352"/>
            <a:ext cx="3820280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57% ‘like to have technology that makes life easier at home’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11)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938701F-EF20-4BBF-8C8F-83B343C50528}"/>
              </a:ext>
            </a:extLst>
          </p:cNvPr>
          <p:cNvSpPr/>
          <p:nvPr/>
        </p:nvSpPr>
        <p:spPr>
          <a:xfrm>
            <a:off x="270001" y="4774508"/>
            <a:ext cx="4835398" cy="1689432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34% more likely to buy a new car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in the next 12 months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315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9DF74A2-45F2-4665-9615-3663775EDD6A}"/>
              </a:ext>
            </a:extLst>
          </p:cNvPr>
          <p:cNvSpPr/>
          <p:nvPr/>
        </p:nvSpPr>
        <p:spPr>
          <a:xfrm>
            <a:off x="5295900" y="4774506"/>
            <a:ext cx="3552824" cy="1696785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60% more likely to own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 smart speaker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60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A6BA7216-816D-44D6-9D1C-A88697876CDA}"/>
              </a:ext>
            </a:extLst>
          </p:cNvPr>
          <p:cNvSpPr/>
          <p:nvPr/>
        </p:nvSpPr>
        <p:spPr>
          <a:xfrm>
            <a:off x="6817918" y="1471122"/>
            <a:ext cx="6275715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65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% agree ‘supermarket brand products are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of equal quality</a:t>
            </a: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 to big brand products’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15)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FD3124E3-B8C7-4EE7-8FCD-7A5F6039893A}"/>
              </a:ext>
            </a:extLst>
          </p:cNvPr>
          <p:cNvSpPr/>
          <p:nvPr/>
        </p:nvSpPr>
        <p:spPr>
          <a:xfrm>
            <a:off x="9039225" y="4774506"/>
            <a:ext cx="4054408" cy="1689432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‘I’m tempted to buy products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I’ve seen advertised’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54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BE0A46E-6994-4444-906A-62CBE0069957}"/>
              </a:ext>
            </a:extLst>
          </p:cNvPr>
          <p:cNvSpPr/>
          <p:nvPr/>
        </p:nvSpPr>
        <p:spPr>
          <a:xfrm>
            <a:off x="8520841" y="3114352"/>
            <a:ext cx="4572791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‘It is important my household is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equipped with the latest technology’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131)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58D01562-D500-4E67-B5FE-C2B4E6F4E798}"/>
              </a:ext>
            </a:extLst>
          </p:cNvPr>
          <p:cNvSpPr/>
          <p:nvPr/>
        </p:nvSpPr>
        <p:spPr>
          <a:xfrm>
            <a:off x="4291347" y="3114352"/>
            <a:ext cx="4041535" cy="1440000"/>
          </a:xfrm>
          <a:prstGeom prst="rect">
            <a:avLst/>
          </a:prstGeom>
          <a:noFill/>
          <a:ln w="12700"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42% more likely to buy a new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TV in the next 12 months</a:t>
            </a: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Index </a:t>
            </a:r>
            <a:r>
              <a:rPr lang="en-GB" sz="900" b="1" i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142</a:t>
            </a:r>
            <a:r>
              <a:rPr kumimoji="0" lang="en-GB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2066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4CB7DD6-5982-4396-B654-0E5737830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n shoppers with children want quality time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F535636-3264-48AF-A507-519AD3BC15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57797"/>
            <a:ext cx="12423740" cy="436608"/>
          </a:xfrm>
        </p:spPr>
        <p:txBody>
          <a:bodyPr/>
          <a:lstStyle/>
          <a:p>
            <a:r>
              <a:rPr lang="en-GB" dirty="0"/>
              <a:t>Audience snapshot</a:t>
            </a:r>
            <a:endParaRPr lang="en-US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3C7A42A-1AD7-4410-8396-C72241D76535}"/>
              </a:ext>
            </a:extLst>
          </p:cNvPr>
          <p:cNvGrpSpPr/>
          <p:nvPr/>
        </p:nvGrpSpPr>
        <p:grpSpPr>
          <a:xfrm>
            <a:off x="9500688" y="1620631"/>
            <a:ext cx="2160000" cy="2160000"/>
            <a:chOff x="4729163" y="471488"/>
            <a:chExt cx="1144587" cy="1144587"/>
          </a:xfrm>
          <a:solidFill>
            <a:schemeClr val="tx2"/>
          </a:solidFill>
        </p:grpSpPr>
        <p:sp>
          <p:nvSpPr>
            <p:cNvPr id="13" name="Freeform 23">
              <a:extLst>
                <a:ext uri="{FF2B5EF4-FFF2-40B4-BE49-F238E27FC236}">
                  <a16:creationId xmlns:a16="http://schemas.microsoft.com/office/drawing/2014/main" id="{EBD13092-A993-48D8-8A60-D5AB282ABB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8547A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 24">
              <a:extLst>
                <a:ext uri="{FF2B5EF4-FFF2-40B4-BE49-F238E27FC236}">
                  <a16:creationId xmlns:a16="http://schemas.microsoft.com/office/drawing/2014/main" id="{25E97DF7-1CC0-4B8E-9DB7-592E6BFA3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8547A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Freeform 309">
            <a:extLst>
              <a:ext uri="{FF2B5EF4-FFF2-40B4-BE49-F238E27FC236}">
                <a16:creationId xmlns:a16="http://schemas.microsoft.com/office/drawing/2014/main" id="{62450D58-7769-4689-81BA-19CE53F0D6C9}"/>
              </a:ext>
            </a:extLst>
          </p:cNvPr>
          <p:cNvSpPr>
            <a:spLocks noEditPoints="1"/>
          </p:cNvSpPr>
          <p:nvPr/>
        </p:nvSpPr>
        <p:spPr bwMode="auto">
          <a:xfrm>
            <a:off x="1784351" y="1620631"/>
            <a:ext cx="2160000" cy="21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 146">
            <a:extLst>
              <a:ext uri="{FF2B5EF4-FFF2-40B4-BE49-F238E27FC236}">
                <a16:creationId xmlns:a16="http://schemas.microsoft.com/office/drawing/2014/main" id="{D7901A01-0E0A-482C-A928-A0D846A659CD}"/>
              </a:ext>
            </a:extLst>
          </p:cNvPr>
          <p:cNvSpPr>
            <a:spLocks noEditPoints="1"/>
          </p:cNvSpPr>
          <p:nvPr/>
        </p:nvSpPr>
        <p:spPr bwMode="auto">
          <a:xfrm>
            <a:off x="5642520" y="1620631"/>
            <a:ext cx="2160000" cy="21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A115695F-B46E-45E0-A12C-B78B6297FCAF}"/>
              </a:ext>
            </a:extLst>
          </p:cNvPr>
          <p:cNvSpPr txBox="1">
            <a:spLocks/>
          </p:cNvSpPr>
          <p:nvPr/>
        </p:nvSpPr>
        <p:spPr>
          <a:xfrm>
            <a:off x="1316513" y="4567156"/>
            <a:ext cx="3041530" cy="159696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Family orientated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In the market for big family purchases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Want products that make their busy daily lives easier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38ACE0-BAFF-40B2-9849-2A61516BB33D}"/>
              </a:ext>
            </a:extLst>
          </p:cNvPr>
          <p:cNvSpPr txBox="1"/>
          <p:nvPr/>
        </p:nvSpPr>
        <p:spPr>
          <a:xfrm>
            <a:off x="1699827" y="3973435"/>
            <a:ext cx="227717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O ARE THEY?</a:t>
            </a:r>
            <a:endParaRPr kumimoji="0" lang="en-US" sz="1800" b="1" i="0" u="none" strike="noStrike" kern="1200" cap="none" spc="0" normalizeH="0" baseline="0" noProof="0" dirty="0" err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318B6BA-E353-4295-99AA-348EC53F00D0}"/>
              </a:ext>
            </a:extLst>
          </p:cNvPr>
          <p:cNvSpPr txBox="1">
            <a:spLocks/>
          </p:cNvSpPr>
          <p:nvPr/>
        </p:nvSpPr>
        <p:spPr>
          <a:xfrm>
            <a:off x="5105236" y="4567156"/>
            <a:ext cx="3227817" cy="1781686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</a:t>
            </a:r>
            <a:r>
              <a:rPr lang="en-GB" sz="1600" dirty="0">
                <a:solidFill>
                  <a:srgbClr val="8A8A8D"/>
                </a:solidFill>
                <a:latin typeface="Arial"/>
              </a:rPr>
              <a:t>place to escape &amp; spend quality time with the whole famil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A treat for the kids and adults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Part of wider trip out from the family home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2BDCE72-1FAB-4DF2-A3F5-EB732210B2F4}"/>
              </a:ext>
            </a:extLst>
          </p:cNvPr>
          <p:cNvSpPr txBox="1"/>
          <p:nvPr/>
        </p:nvSpPr>
        <p:spPr>
          <a:xfrm>
            <a:off x="5715334" y="3973435"/>
            <a:ext cx="200762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Y CINEMA?</a:t>
            </a:r>
            <a:endParaRPr kumimoji="0" lang="en-US" sz="1800" b="1" i="0" u="none" strike="noStrike" kern="1200" cap="none" spc="0" normalizeH="0" baseline="0" noProof="0" dirty="0" err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7F6C807C-E9AA-420E-9E4F-46DD45D529AF}"/>
              </a:ext>
            </a:extLst>
          </p:cNvPr>
          <p:cNvSpPr txBox="1">
            <a:spLocks/>
          </p:cNvSpPr>
          <p:nvPr/>
        </p:nvSpPr>
        <p:spPr>
          <a:xfrm>
            <a:off x="9218027" y="4567156"/>
            <a:ext cx="2765963" cy="1357883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Family Escapism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Co-Viewing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Appointment to View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EF148DE-B9CB-4436-8BEB-74BEBEAC602F}"/>
              </a:ext>
            </a:extLst>
          </p:cNvPr>
          <p:cNvSpPr txBox="1"/>
          <p:nvPr/>
        </p:nvSpPr>
        <p:spPr>
          <a:xfrm>
            <a:off x="9709700" y="3973435"/>
            <a:ext cx="178261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WORDS</a:t>
            </a:r>
            <a:endParaRPr kumimoji="0" lang="en-US" sz="1800" b="1" i="0" u="none" strike="noStrike" kern="1200" cap="none" spc="0" normalizeH="0" baseline="0" noProof="0" dirty="0" err="1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556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5AF035E-09F8-4266-A7EE-B9F11EA99E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ome VIEWING HABITS ARE CHANGING DRAMATICALLY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A92BE11-9623-4DFE-B8CE-830D5F026D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27873"/>
            <a:ext cx="12423740" cy="436608"/>
          </a:xfrm>
        </p:spPr>
        <p:txBody>
          <a:bodyPr/>
          <a:lstStyle/>
          <a:p>
            <a:r>
              <a:rPr lang="en-GB" dirty="0"/>
              <a:t>The shared viewing family moment is disappearing due to a change in TV viewing habits</a:t>
            </a:r>
            <a:endParaRPr lang="en-US" dirty="0"/>
          </a:p>
          <a:p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B9CC674-36AD-4EBA-A245-038E3667A2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023"/>
          <a:stretch/>
        </p:blipFill>
        <p:spPr>
          <a:xfrm>
            <a:off x="484115" y="1520992"/>
            <a:ext cx="3656175" cy="3219681"/>
          </a:xfrm>
          <a:prstGeom prst="rect">
            <a:avLst/>
          </a:prstGeom>
        </p:spPr>
      </p:pic>
      <p:pic>
        <p:nvPicPr>
          <p:cNvPr id="22" name="Picture 4" descr="Image result for bbc news logo">
            <a:extLst>
              <a:ext uri="{FF2B5EF4-FFF2-40B4-BE49-F238E27FC236}">
                <a16:creationId xmlns:a16="http://schemas.microsoft.com/office/drawing/2014/main" id="{8E79A20F-3069-47F5-AD0E-9B40916298A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67" t="40275" r="9545" b="38124"/>
          <a:stretch/>
        </p:blipFill>
        <p:spPr bwMode="auto">
          <a:xfrm>
            <a:off x="484115" y="1127423"/>
            <a:ext cx="1564211" cy="321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A8E0BFF0-28AD-4E05-BDB8-A4678EEE530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8" b="71496"/>
          <a:stretch/>
        </p:blipFill>
        <p:spPr>
          <a:xfrm>
            <a:off x="8609808" y="5408134"/>
            <a:ext cx="4793064" cy="127405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BCC9ACD-ACC6-4893-BCBD-397A026C59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60726" y="1489228"/>
            <a:ext cx="6898164" cy="282197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D6288DF-CE7C-485F-9E66-11ED294AA00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781"/>
          <a:stretch/>
        </p:blipFill>
        <p:spPr>
          <a:xfrm>
            <a:off x="5222718" y="1134797"/>
            <a:ext cx="1710646" cy="33651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08919E1-F267-4FEB-ABA1-ECEE6B7E5FD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3352" t="23345" r="42007" b="63576"/>
          <a:stretch/>
        </p:blipFill>
        <p:spPr>
          <a:xfrm>
            <a:off x="167803" y="5408134"/>
            <a:ext cx="7729869" cy="127405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84AEDE84-6F70-4AC7-986F-35F6B0BD552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835" t="9706" r="79033" b="85989"/>
          <a:stretch/>
        </p:blipFill>
        <p:spPr>
          <a:xfrm>
            <a:off x="484115" y="5016588"/>
            <a:ext cx="1679413" cy="40135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05ECE5-2C18-D64D-B8F6-A1086FA0A7F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85437" y="4808528"/>
            <a:ext cx="1473006" cy="484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8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97126-F4D6-4ED0-B9C0-441C241D0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eaming is fuelling their passion for film 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BCE49D-E1DB-4F00-9587-6DFE5B2AC2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16859" y="7193736"/>
            <a:ext cx="5281324" cy="246221"/>
          </a:xfrm>
        </p:spPr>
        <p:txBody>
          <a:bodyPr/>
          <a:lstStyle/>
          <a:p>
            <a:pPr lvl="0"/>
            <a:r>
              <a:rPr lang="en-GB" b="1" dirty="0"/>
              <a:t>Source</a:t>
            </a:r>
            <a:r>
              <a:rPr lang="en-GB" dirty="0"/>
              <a:t>: TGI Q2 2019. </a:t>
            </a:r>
          </a:p>
          <a:p>
            <a:pPr lvl="0"/>
            <a:r>
              <a:rPr lang="en-GB" dirty="0"/>
              <a:t>Target: Main shoppers with children – use either Netflix, Amazon Prime or Now TV in the last 4 weeks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0EC8DC-A3A8-4F0A-9C28-E3F979D6A0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7919407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Cinema remains a great way of engaging with main shoppers with children - 94% of those who have used Netflix, Amazon Prime or Now TV in the last month are also cinemagoers</a:t>
            </a: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3EAB693-12E3-4845-8A6C-CC3A459F3653}"/>
              </a:ext>
            </a:extLst>
          </p:cNvPr>
          <p:cNvGrpSpPr/>
          <p:nvPr/>
        </p:nvGrpSpPr>
        <p:grpSpPr>
          <a:xfrm>
            <a:off x="1096530" y="1551709"/>
            <a:ext cx="11249891" cy="4913746"/>
            <a:chOff x="849745" y="1551709"/>
            <a:chExt cx="11249891" cy="4913746"/>
          </a:xfrm>
        </p:grpSpPr>
        <p:graphicFrame>
          <p:nvGraphicFramePr>
            <p:cNvPr id="8" name="Chart 7">
              <a:extLst>
                <a:ext uri="{FF2B5EF4-FFF2-40B4-BE49-F238E27FC236}">
                  <a16:creationId xmlns:a16="http://schemas.microsoft.com/office/drawing/2014/main" id="{1F72B244-0C47-4F5B-9417-40546E326945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196323374"/>
                </p:ext>
              </p:extLst>
            </p:nvPr>
          </p:nvGraphicFramePr>
          <p:xfrm>
            <a:off x="849745" y="1551709"/>
            <a:ext cx="11249891" cy="491374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CDFC6850-31AA-47AB-8F4E-01E2691FDC4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42615" y="2365547"/>
              <a:ext cx="1557720" cy="181946"/>
            </a:xfrm>
            <a:prstGeom prst="straightConnector1">
              <a:avLst/>
            </a:prstGeom>
            <a:ln w="15875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D3F3E3D-6587-4BB7-8650-314185B22FB5}"/>
                </a:ext>
              </a:extLst>
            </p:cNvPr>
            <p:cNvSpPr txBox="1"/>
            <p:nvPr/>
          </p:nvSpPr>
          <p:spPr>
            <a:xfrm>
              <a:off x="6122723" y="2079134"/>
              <a:ext cx="119750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r>
                <a:rPr lang="en-GB" sz="1200" b="1" dirty="0">
                  <a:solidFill>
                    <a:schemeClr val="tx2"/>
                  </a:solidFill>
                  <a:latin typeface="Arial"/>
                </a:rPr>
                <a:t>9</a:t>
              </a: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% uplift</a:t>
              </a:r>
              <a:endPara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3672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85848A-7433-4F45-9297-54B1B5A890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nemagoing has increased and stayed consistent over the last decad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7F050A-930B-4747-ABA1-0989104F6F2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TGI trend analysis Q2 2010 – Q2 2019. 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E7D8451-65B6-46D5-8BE1-9A147CB348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11094686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Amid drastic changes in media consumption over the last decade, cinema has remained a consistently recognised source of quality family entertainment with 9 in 10 Main shoppers with children visiting the cinema every year.</a:t>
            </a:r>
            <a:endParaRPr lang="en-US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700A8636-0576-4212-AFBB-4B1AD3E2C03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5330734"/>
              </p:ext>
            </p:extLst>
          </p:nvPr>
        </p:nvGraphicFramePr>
        <p:xfrm>
          <a:off x="665018" y="1283856"/>
          <a:ext cx="12136581" cy="52924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9" name="Picture 30" descr="Image result for instagram logo transparent">
            <a:extLst>
              <a:ext uri="{FF2B5EF4-FFF2-40B4-BE49-F238E27FC236}">
                <a16:creationId xmlns:a16="http://schemas.microsoft.com/office/drawing/2014/main" id="{AFEB9ACF-E905-4259-83B9-E82528F5B3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358" y="2274551"/>
            <a:ext cx="281614" cy="2816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5" descr="Image result for netflix LOGO">
            <a:extLst>
              <a:ext uri="{FF2B5EF4-FFF2-40B4-BE49-F238E27FC236}">
                <a16:creationId xmlns:a16="http://schemas.microsoft.com/office/drawing/2014/main" id="{957B9E04-2785-4E04-934B-FC48BC7011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444" y="2241984"/>
            <a:ext cx="355161" cy="266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C27CC82-3F84-42BF-B4BB-1E2324863EF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8650" y="2094160"/>
            <a:ext cx="586042" cy="180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628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nema remains THE go-to place for family entertainment 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1"/>
          </p:nvPr>
        </p:nvSpPr>
        <p:spPr>
          <a:xfrm>
            <a:off x="5124893" y="7251120"/>
            <a:ext cx="8173596" cy="12311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Source: IBOE &amp; DCM admissions cube.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7"/>
          </p:nvPr>
        </p:nvSpPr>
        <p:spPr>
          <a:xfrm>
            <a:off x="270624" y="651956"/>
            <a:ext cx="11045076" cy="436608"/>
          </a:xfrm>
        </p:spPr>
        <p:txBody>
          <a:bodyPr/>
          <a:lstStyle/>
          <a:p>
            <a:r>
              <a:rPr lang="en-GB" dirty="0"/>
              <a:t>Family cinema is booming with animation and family films consistently attracting huge audiences. </a:t>
            </a:r>
            <a:endParaRPr lang="en-US" dirty="0"/>
          </a:p>
        </p:txBody>
      </p:sp>
      <p:sp>
        <p:nvSpPr>
          <p:cNvPr id="29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532112" y="5142971"/>
            <a:ext cx="1862578" cy="59742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050" dirty="0">
                <a:solidFill>
                  <a:schemeClr val="tx2"/>
                </a:solidFill>
              </a:rPr>
              <a:t>Incredibles 2</a:t>
            </a:r>
          </a:p>
          <a:p>
            <a:pPr>
              <a:lnSpc>
                <a:spcPct val="100000"/>
              </a:lnSpc>
            </a:pPr>
            <a:endParaRPr lang="en-US" sz="1050" dirty="0"/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£</a:t>
            </a:r>
            <a:r>
              <a:rPr lang="en-US" dirty="0">
                <a:solidFill>
                  <a:schemeClr val="accent6"/>
                </a:solidFill>
              </a:rPr>
              <a:t>56m</a:t>
            </a:r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6</a:t>
            </a:r>
            <a:r>
              <a:rPr lang="en-US" dirty="0">
                <a:solidFill>
                  <a:schemeClr val="accent6"/>
                </a:solidFill>
              </a:rPr>
              <a:t>.2m DCM admissions</a:t>
            </a:r>
            <a:endParaRPr lang="en-GB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GB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0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2635230" y="5142971"/>
            <a:ext cx="2103119" cy="59742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>
                <a:solidFill>
                  <a:schemeClr val="tx2"/>
                </a:solidFill>
              </a:rPr>
              <a:t>Mary Poppins Returns</a:t>
            </a:r>
            <a:endParaRPr lang="en-US" dirty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£</a:t>
            </a:r>
            <a:r>
              <a:rPr lang="en-US" dirty="0">
                <a:solidFill>
                  <a:schemeClr val="accent6"/>
                </a:solidFill>
              </a:rPr>
              <a:t>46m</a:t>
            </a:r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4</a:t>
            </a:r>
            <a:r>
              <a:rPr lang="en-US" dirty="0">
                <a:solidFill>
                  <a:schemeClr val="accent6"/>
                </a:solidFill>
              </a:rPr>
              <a:t>.6m DCM admissions</a:t>
            </a:r>
          </a:p>
          <a:p>
            <a:pPr>
              <a:lnSpc>
                <a:spcPct val="100000"/>
              </a:lnSpc>
            </a:pPr>
            <a:endParaRPr lang="en-GB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GB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1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4738349" y="5142971"/>
            <a:ext cx="1862578" cy="59742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>
                <a:solidFill>
                  <a:schemeClr val="tx2"/>
                </a:solidFill>
              </a:rPr>
              <a:t>Peter Rabbit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£</a:t>
            </a:r>
            <a:r>
              <a:rPr lang="en-US" dirty="0">
                <a:solidFill>
                  <a:schemeClr val="accent6"/>
                </a:solidFill>
              </a:rPr>
              <a:t>40m</a:t>
            </a:r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5</a:t>
            </a:r>
            <a:r>
              <a:rPr lang="en-US" dirty="0">
                <a:solidFill>
                  <a:schemeClr val="accent6"/>
                </a:solidFill>
              </a:rPr>
              <a:t>.0m DCM admissions</a:t>
            </a:r>
          </a:p>
          <a:p>
            <a:pPr>
              <a:lnSpc>
                <a:spcPct val="100000"/>
              </a:lnSpc>
            </a:pPr>
            <a:endParaRPr lang="en-GB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GB" dirty="0">
              <a:solidFill>
                <a:schemeClr val="accent6"/>
              </a:solidFill>
            </a:endParaRPr>
          </a:p>
        </p:txBody>
      </p:sp>
      <p:sp>
        <p:nvSpPr>
          <p:cNvPr id="32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6841469" y="5142971"/>
            <a:ext cx="1862578" cy="84845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>
                <a:solidFill>
                  <a:schemeClr val="tx2"/>
                </a:solidFill>
              </a:rPr>
              <a:t>Toy Story 4</a:t>
            </a: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£</a:t>
            </a:r>
            <a:r>
              <a:rPr lang="en-US" dirty="0">
                <a:solidFill>
                  <a:schemeClr val="accent6"/>
                </a:solidFill>
              </a:rPr>
              <a:t>66m</a:t>
            </a:r>
            <a:endParaRPr lang="en-GB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7.5</a:t>
            </a:r>
            <a:r>
              <a:rPr lang="en-US" dirty="0">
                <a:solidFill>
                  <a:schemeClr val="accent6"/>
                </a:solidFill>
              </a:rPr>
              <a:t>m DCM admissions</a:t>
            </a:r>
          </a:p>
          <a:p>
            <a:pPr>
              <a:lnSpc>
                <a:spcPct val="100000"/>
              </a:lnSpc>
            </a:pPr>
            <a:endParaRPr lang="en-GB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GB" dirty="0">
              <a:solidFill>
                <a:schemeClr val="accent6"/>
              </a:solidFill>
            </a:endParaRP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8944588" y="5142971"/>
            <a:ext cx="1862578" cy="84845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>
                <a:solidFill>
                  <a:schemeClr val="tx2"/>
                </a:solidFill>
              </a:rPr>
              <a:t>The Lion King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£</a:t>
            </a:r>
            <a:r>
              <a:rPr lang="en-US" dirty="0">
                <a:solidFill>
                  <a:schemeClr val="accent6"/>
                </a:solidFill>
              </a:rPr>
              <a:t>76m</a:t>
            </a:r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8.1</a:t>
            </a:r>
            <a:r>
              <a:rPr lang="en-US" dirty="0">
                <a:solidFill>
                  <a:schemeClr val="accent6"/>
                </a:solidFill>
              </a:rPr>
              <a:t>m DCM admissions</a:t>
            </a:r>
          </a:p>
          <a:p>
            <a:pPr>
              <a:lnSpc>
                <a:spcPct val="100000"/>
              </a:lnSpc>
            </a:pPr>
            <a:endParaRPr lang="en-GB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/>
          </a:p>
          <a:p>
            <a:pPr>
              <a:lnSpc>
                <a:spcPct val="100000"/>
              </a:lnSpc>
            </a:pPr>
            <a:endParaRPr lang="en-GB" dirty="0">
              <a:solidFill>
                <a:schemeClr val="accent6"/>
              </a:solidFill>
            </a:endParaRP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11047706" y="5142971"/>
            <a:ext cx="1862578" cy="84845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>
                <a:solidFill>
                  <a:schemeClr val="tx2"/>
                </a:solidFill>
              </a:rPr>
              <a:t>Frozen II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£</a:t>
            </a:r>
            <a:r>
              <a:rPr lang="en-US" dirty="0">
                <a:solidFill>
                  <a:schemeClr val="accent6"/>
                </a:solidFill>
              </a:rPr>
              <a:t>52m</a:t>
            </a:r>
          </a:p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6"/>
                </a:solidFill>
              </a:rPr>
              <a:t>4.9</a:t>
            </a:r>
            <a:r>
              <a:rPr lang="en-US" dirty="0">
                <a:solidFill>
                  <a:schemeClr val="accent6"/>
                </a:solidFill>
              </a:rPr>
              <a:t>m DCM admissions</a:t>
            </a:r>
          </a:p>
          <a:p>
            <a:pPr>
              <a:lnSpc>
                <a:spcPct val="100000"/>
              </a:lnSpc>
            </a:pPr>
            <a:endParaRPr lang="en-GB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GB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</p:txBody>
      </p:sp>
      <p:pic>
        <p:nvPicPr>
          <p:cNvPr id="1331202" name="Picture 2" descr="Image result for incredibles 2">
            <a:extLst>
              <a:ext uri="{FF2B5EF4-FFF2-40B4-BE49-F238E27FC236}">
                <a16:creationId xmlns:a16="http://schemas.microsoft.com/office/drawing/2014/main" id="{77E55844-1F49-408C-A5A8-802C41D20FA6}"/>
              </a:ext>
            </a:extLst>
          </p:cNvPr>
          <p:cNvPicPr>
            <a:picLocks noGrp="1" noChangeAspect="1" noChangeArrowheads="1"/>
          </p:cNvPicPr>
          <p:nvPr>
            <p:ph type="pic" sz="quarter" idx="3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" b="149"/>
          <a:stretch>
            <a:fillRect/>
          </a:stretch>
        </p:blipFill>
        <p:spPr bwMode="auto">
          <a:xfrm>
            <a:off x="532112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208" name="Picture 8" descr="Image result for mary poppins returns">
            <a:extLst>
              <a:ext uri="{FF2B5EF4-FFF2-40B4-BE49-F238E27FC236}">
                <a16:creationId xmlns:a16="http://schemas.microsoft.com/office/drawing/2014/main" id="{51C43B88-7680-424A-8A11-03C4F26B37C4}"/>
              </a:ext>
            </a:extLst>
          </p:cNvPr>
          <p:cNvPicPr>
            <a:picLocks noGrp="1" noChangeAspect="1" noChangeArrowheads="1"/>
          </p:cNvPicPr>
          <p:nvPr>
            <p:ph type="pic" sz="quarter" idx="3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3" b="753"/>
          <a:stretch>
            <a:fillRect/>
          </a:stretch>
        </p:blipFill>
        <p:spPr bwMode="auto">
          <a:xfrm>
            <a:off x="2635231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212" name="Picture 12" descr="Image result for peter rabbit film poster">
            <a:extLst>
              <a:ext uri="{FF2B5EF4-FFF2-40B4-BE49-F238E27FC236}">
                <a16:creationId xmlns:a16="http://schemas.microsoft.com/office/drawing/2014/main" id="{4A58BCB3-4A6D-437F-8977-F86F1280574D}"/>
              </a:ext>
            </a:extLst>
          </p:cNvPr>
          <p:cNvPicPr>
            <a:picLocks noGrp="1" noChangeAspect="1" noChangeArrowheads="1"/>
          </p:cNvPicPr>
          <p:nvPr>
            <p:ph type="pic" sz="quarter" idx="4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" b="137"/>
          <a:stretch>
            <a:fillRect/>
          </a:stretch>
        </p:blipFill>
        <p:spPr bwMode="auto">
          <a:xfrm>
            <a:off x="4738350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A1440978-2CF8-44F2-A9BF-87A171CE1B93}"/>
              </a:ext>
            </a:extLst>
          </p:cNvPr>
          <p:cNvPicPr>
            <a:picLocks noGrp="1" noChangeAspect="1"/>
          </p:cNvPicPr>
          <p:nvPr>
            <p:ph type="pic" sz="quarter" idx="43"/>
          </p:nvPr>
        </p:nvPicPr>
        <p:blipFill>
          <a:blip r:embed="rId5"/>
          <a:srcRect l="120" r="120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93987774-8EE7-469B-B644-957768299A98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6"/>
          <a:srcRect t="254" b="254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4D88E163-191A-4594-A4E2-73EA97A2E053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>
          <a:blip r:embed="rId7"/>
          <a:srcRect t="137" b="137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776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BEE50C13-2A95-4A89-8A9A-87753AC9B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mily ticket sales peak during key periods of the year </a:t>
            </a:r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2A128E2-20A2-47F4-A418-960D85B854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On average, across the last 3 years, family ticket sales have peaked during key periods with nearly half sold in April, July, August or December. 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1A0E390-1CD7-423A-8CB8-2DBC593A34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3367" y="7265254"/>
            <a:ext cx="4165121" cy="123111"/>
          </a:xfrm>
        </p:spPr>
        <p:txBody>
          <a:bodyPr/>
          <a:lstStyle/>
          <a:p>
            <a:r>
              <a:rPr lang="en-GB" dirty="0"/>
              <a:t>Source: DCM admissions cube.  % of total annual family/adult ticket sales.</a:t>
            </a:r>
            <a:endParaRPr lang="en-US" dirty="0"/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8392B2DE-527A-454B-BFFB-7F58936F14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1957475"/>
              </p:ext>
            </p:extLst>
          </p:nvPr>
        </p:nvGraphicFramePr>
        <p:xfrm>
          <a:off x="503623" y="1456453"/>
          <a:ext cx="12227442" cy="5186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2CF50C25-E567-4E6A-A24A-FE8299CCF73A}"/>
              </a:ext>
            </a:extLst>
          </p:cNvPr>
          <p:cNvSpPr txBox="1"/>
          <p:nvPr/>
        </p:nvSpPr>
        <p:spPr>
          <a:xfrm>
            <a:off x="4168660" y="1353014"/>
            <a:ext cx="648586" cy="2445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Easter</a:t>
            </a:r>
            <a:endParaRPr lang="en-US" sz="1000" b="1" dirty="0" err="1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B3D500F-105C-4644-8882-2FF8F8491CF4}"/>
              </a:ext>
            </a:extLst>
          </p:cNvPr>
          <p:cNvSpPr txBox="1"/>
          <p:nvPr/>
        </p:nvSpPr>
        <p:spPr>
          <a:xfrm>
            <a:off x="7013938" y="1330635"/>
            <a:ext cx="1468345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Summer Holidays</a:t>
            </a:r>
            <a:endParaRPr lang="en-US" sz="1000" b="1" dirty="0" err="1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3DE7198-AABA-428E-9441-C64E9D889770}"/>
              </a:ext>
            </a:extLst>
          </p:cNvPr>
          <p:cNvSpPr txBox="1"/>
          <p:nvPr/>
        </p:nvSpPr>
        <p:spPr>
          <a:xfrm>
            <a:off x="11615695" y="1330635"/>
            <a:ext cx="954438" cy="25163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Christmas</a:t>
            </a:r>
            <a:endParaRPr lang="en-US" sz="10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95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7276AA-FD40-4D36-9DFB-F40CA5647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scape to the cinema with the whole family 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3A10B6-5E1B-4620-9EE9-9020D15731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46599" y="7239755"/>
            <a:ext cx="3116263" cy="123111"/>
          </a:xfrm>
        </p:spPr>
        <p:txBody>
          <a:bodyPr/>
          <a:lstStyle/>
          <a:p>
            <a:r>
              <a:rPr lang="en-US" dirty="0"/>
              <a:t>Source: FAME 2018. Index vs. average UK cinemagoer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B0EBB5-E508-40BE-973E-0C45317816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Cinema is the perfect place to escape with the whole family </a:t>
            </a:r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CB769C2-9276-49EB-ADC9-8E943CA640E6}"/>
              </a:ext>
            </a:extLst>
          </p:cNvPr>
          <p:cNvSpPr txBox="1">
            <a:spLocks/>
          </p:cNvSpPr>
          <p:nvPr/>
        </p:nvSpPr>
        <p:spPr>
          <a:xfrm>
            <a:off x="2197762" y="5589442"/>
            <a:ext cx="3632589" cy="70532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lang="en-GB" sz="1600" dirty="0">
                <a:solidFill>
                  <a:srgbClr val="8A8A8D"/>
                </a:solidFill>
                <a:latin typeface="Arial"/>
              </a:rPr>
              <a:t>Going to the cinema allows me to have some well needed time out from day-to-day life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</a:t>
            </a:r>
          </a:p>
          <a:p>
            <a:pPr marL="0" marR="0" lvl="0" indent="0" algn="ctr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dex: 120)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2C50056-19DE-4976-B630-37B199D4B531}"/>
              </a:ext>
            </a:extLst>
          </p:cNvPr>
          <p:cNvSpPr txBox="1">
            <a:spLocks/>
          </p:cNvSpPr>
          <p:nvPr/>
        </p:nvSpPr>
        <p:spPr>
          <a:xfrm>
            <a:off x="7570601" y="5589442"/>
            <a:ext cx="3690071" cy="70532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lang="en-GB" sz="1600" dirty="0">
                <a:solidFill>
                  <a:srgbClr val="8A8A8D"/>
                </a:solidFill>
                <a:latin typeface="Arial"/>
              </a:rPr>
              <a:t>The cinema is a great way to spend quality time with family and friends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”</a:t>
            </a:r>
          </a:p>
          <a:p>
            <a:pPr marL="0" marR="0" lvl="0" indent="0" algn="ctr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900" b="0" i="1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dex: 120)</a:t>
            </a:r>
            <a:endParaRPr kumimoji="0" lang="en-US" sz="900" b="0" i="1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419544D-E0C1-471D-9259-29ABBB9699C1}"/>
              </a:ext>
            </a:extLst>
          </p:cNvPr>
          <p:cNvSpPr txBox="1">
            <a:spLocks/>
          </p:cNvSpPr>
          <p:nvPr/>
        </p:nvSpPr>
        <p:spPr bwMode="gray">
          <a:xfrm>
            <a:off x="3017971" y="2896824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dirty="0">
                <a:solidFill>
                  <a:schemeClr val="tx2"/>
                </a:solidFill>
              </a:rPr>
              <a:t>70</a:t>
            </a: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Impact" charset="0"/>
              </a:rPr>
              <a:t>%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6C93B86-CC97-4164-B5EC-04BABBEAFAB8}"/>
              </a:ext>
            </a:extLst>
          </p:cNvPr>
          <p:cNvGrpSpPr/>
          <p:nvPr/>
        </p:nvGrpSpPr>
        <p:grpSpPr>
          <a:xfrm>
            <a:off x="2183806" y="1501972"/>
            <a:ext cx="3693979" cy="3693979"/>
            <a:chOff x="5372210" y="1607899"/>
            <a:chExt cx="3693979" cy="3693979"/>
          </a:xfrm>
        </p:grpSpPr>
        <p:sp>
          <p:nvSpPr>
            <p:cNvPr id="16" name="Block Arc 15">
              <a:extLst>
                <a:ext uri="{FF2B5EF4-FFF2-40B4-BE49-F238E27FC236}">
                  <a16:creationId xmlns:a16="http://schemas.microsoft.com/office/drawing/2014/main" id="{C1F69D20-7E08-401A-A6E7-90A45E74FE18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1953944"/>
                <a:gd name="adj3" fmla="val 2696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Block Arc 16">
              <a:extLst>
                <a:ext uri="{FF2B5EF4-FFF2-40B4-BE49-F238E27FC236}">
                  <a16:creationId xmlns:a16="http://schemas.microsoft.com/office/drawing/2014/main" id="{1E58C1B8-DAB3-4E94-A626-D4531E9A76F7}"/>
                </a:ext>
              </a:extLst>
            </p:cNvPr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10604447"/>
                <a:gd name="adj2" fmla="val 4156081"/>
                <a:gd name="adj3" fmla="val 26923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953B6A-C33D-45AA-9A40-4EC3FE73EA8B}"/>
              </a:ext>
            </a:extLst>
          </p:cNvPr>
          <p:cNvSpPr txBox="1">
            <a:spLocks/>
          </p:cNvSpPr>
          <p:nvPr/>
        </p:nvSpPr>
        <p:spPr bwMode="gray">
          <a:xfrm>
            <a:off x="8409377" y="2902990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dirty="0">
                <a:solidFill>
                  <a:schemeClr val="tx2"/>
                </a:solidFill>
              </a:rPr>
              <a:t>67</a:t>
            </a: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Impact" charset="0"/>
              </a:rPr>
              <a:t>%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976B544-65A4-4A74-80DD-78DFE9595829}"/>
              </a:ext>
            </a:extLst>
          </p:cNvPr>
          <p:cNvGrpSpPr/>
          <p:nvPr/>
        </p:nvGrpSpPr>
        <p:grpSpPr>
          <a:xfrm>
            <a:off x="7577167" y="1504231"/>
            <a:ext cx="3693979" cy="3693979"/>
            <a:chOff x="5372210" y="1607899"/>
            <a:chExt cx="3693979" cy="3693979"/>
          </a:xfrm>
        </p:grpSpPr>
        <p:sp>
          <p:nvSpPr>
            <p:cNvPr id="20" name="Block Arc 19">
              <a:extLst>
                <a:ext uri="{FF2B5EF4-FFF2-40B4-BE49-F238E27FC236}">
                  <a16:creationId xmlns:a16="http://schemas.microsoft.com/office/drawing/2014/main" id="{38502D4F-F01E-4E51-867B-82F4EB0347B4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1953944"/>
                <a:gd name="adj3" fmla="val 2696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Block Arc 20">
              <a:extLst>
                <a:ext uri="{FF2B5EF4-FFF2-40B4-BE49-F238E27FC236}">
                  <a16:creationId xmlns:a16="http://schemas.microsoft.com/office/drawing/2014/main" id="{DEED8D4E-A04D-4379-A853-DB55D620B136}"/>
                </a:ext>
              </a:extLst>
            </p:cNvPr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11749255"/>
                <a:gd name="adj2" fmla="val 4156081"/>
                <a:gd name="adj3" fmla="val 26923"/>
              </a:avLst>
            </a:prstGeom>
            <a:solidFill>
              <a:schemeClr val="tx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205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C21C76-5A0D-4190-9E68-6CF7056786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-viewing increases advertising impact 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FEF4F2-94AB-4944-85F9-20977EEC0B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Research from Sky showcases how co-viewing an ad with your family enhances content engagement and recall.</a:t>
            </a:r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F4C1EA-C452-4C7A-AAD2-F7DE926AF5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82025" y="7251119"/>
            <a:ext cx="4716463" cy="123111"/>
          </a:xfrm>
        </p:spPr>
        <p:txBody>
          <a:bodyPr/>
          <a:lstStyle/>
          <a:p>
            <a:r>
              <a:rPr lang="en-US" dirty="0"/>
              <a:t>Source: BDRC Continental &amp; Sky - Engagement Study with Households with Children 0-10. </a:t>
            </a:r>
          </a:p>
        </p:txBody>
      </p:sp>
      <p:sp>
        <p:nvSpPr>
          <p:cNvPr id="8" name="Freeform 277">
            <a:extLst>
              <a:ext uri="{FF2B5EF4-FFF2-40B4-BE49-F238E27FC236}">
                <a16:creationId xmlns:a16="http://schemas.microsoft.com/office/drawing/2014/main" id="{F17C4CD1-3301-4036-8B79-8656A2A7317A}"/>
              </a:ext>
            </a:extLst>
          </p:cNvPr>
          <p:cNvSpPr>
            <a:spLocks noEditPoints="1"/>
          </p:cNvSpPr>
          <p:nvPr/>
        </p:nvSpPr>
        <p:spPr bwMode="auto">
          <a:xfrm>
            <a:off x="1143086" y="2287382"/>
            <a:ext cx="2533206" cy="2533206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69CD113-F15B-47BE-89E3-65DC1E4BB4A0}"/>
              </a:ext>
            </a:extLst>
          </p:cNvPr>
          <p:cNvSpPr/>
          <p:nvPr/>
        </p:nvSpPr>
        <p:spPr>
          <a:xfrm>
            <a:off x="5424391" y="2287382"/>
            <a:ext cx="2533206" cy="253320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dirty="0">
                <a:solidFill>
                  <a:srgbClr val="FFFFFF"/>
                </a:solidFill>
                <a:latin typeface="+mj-lt"/>
              </a:rPr>
              <a:t>+38%</a:t>
            </a:r>
            <a:endParaRPr lang="en-US" sz="60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A84066F-8AAF-48E6-8214-01C176404976}"/>
              </a:ext>
            </a:extLst>
          </p:cNvPr>
          <p:cNvSpPr/>
          <p:nvPr/>
        </p:nvSpPr>
        <p:spPr>
          <a:xfrm>
            <a:off x="9705698" y="2287382"/>
            <a:ext cx="2533206" cy="253320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dirty="0">
                <a:solidFill>
                  <a:srgbClr val="FFFFFF"/>
                </a:solidFill>
                <a:latin typeface="+mj-lt"/>
              </a:rPr>
              <a:t>+18%</a:t>
            </a:r>
            <a:endParaRPr lang="en-US" sz="60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F8C8009-D250-4DA8-8C9A-AA7709C89B84}"/>
              </a:ext>
            </a:extLst>
          </p:cNvPr>
          <p:cNvSpPr txBox="1">
            <a:spLocks/>
          </p:cNvSpPr>
          <p:nvPr/>
        </p:nvSpPr>
        <p:spPr>
          <a:xfrm>
            <a:off x="5302845" y="5140694"/>
            <a:ext cx="2776300" cy="551033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>
                <a:solidFill>
                  <a:schemeClr val="accent6"/>
                </a:solidFill>
              </a:rPr>
              <a:t>Content </a:t>
            </a:r>
          </a:p>
          <a:p>
            <a:pPr algn="ctr"/>
            <a:r>
              <a:rPr lang="en-GB" dirty="0">
                <a:solidFill>
                  <a:schemeClr val="accent6"/>
                </a:solidFill>
              </a:rPr>
              <a:t>Engagement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2539C4C-9F85-4C26-B013-619FFFFD61AE}"/>
              </a:ext>
            </a:extLst>
          </p:cNvPr>
          <p:cNvSpPr txBox="1">
            <a:spLocks/>
          </p:cNvSpPr>
          <p:nvPr/>
        </p:nvSpPr>
        <p:spPr>
          <a:xfrm>
            <a:off x="9665186" y="5140694"/>
            <a:ext cx="2614231" cy="32234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>
                <a:solidFill>
                  <a:schemeClr val="accent6"/>
                </a:solidFill>
              </a:rPr>
              <a:t>Ad Recal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7C32A5C-9FE8-4F2D-AFE7-807BA10917EF}"/>
              </a:ext>
            </a:extLst>
          </p:cNvPr>
          <p:cNvSpPr txBox="1">
            <a:spLocks/>
          </p:cNvSpPr>
          <p:nvPr/>
        </p:nvSpPr>
        <p:spPr>
          <a:xfrm>
            <a:off x="1102573" y="5140694"/>
            <a:ext cx="2614231" cy="32234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>
                <a:solidFill>
                  <a:schemeClr val="accent6"/>
                </a:solidFill>
              </a:rPr>
              <a:t>Co-Viewing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C04A43B-9722-4136-A02B-2014F93F6C2D}"/>
              </a:ext>
            </a:extLst>
          </p:cNvPr>
          <p:cNvSpPr txBox="1">
            <a:spLocks/>
          </p:cNvSpPr>
          <p:nvPr/>
        </p:nvSpPr>
        <p:spPr>
          <a:xfrm>
            <a:off x="4424450" y="3140395"/>
            <a:ext cx="251784" cy="827180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4800" dirty="0">
                <a:solidFill>
                  <a:schemeClr val="accent6"/>
                </a:solidFill>
              </a:rPr>
              <a:t>=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197B8FF-87AE-4F37-A5A4-2532092B827C}"/>
              </a:ext>
            </a:extLst>
          </p:cNvPr>
          <p:cNvSpPr txBox="1">
            <a:spLocks/>
          </p:cNvSpPr>
          <p:nvPr/>
        </p:nvSpPr>
        <p:spPr>
          <a:xfrm>
            <a:off x="8705755" y="3145540"/>
            <a:ext cx="251785" cy="816890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4800" dirty="0">
                <a:solidFill>
                  <a:schemeClr val="accent6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181799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9B81A428-C4B1-F642-88AE-8ED774BA0FC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2.xml><?xml version="1.0" encoding="utf-8"?>
<a:theme xmlns:a="http://schemas.openxmlformats.org/drawingml/2006/main" name="1_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3.xml><?xml version="1.0" encoding="utf-8"?>
<a:theme xmlns:a="http://schemas.openxmlformats.org/drawingml/2006/main" name="1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14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5.xml><?xml version="1.0" encoding="utf-8"?>
<a:theme xmlns:a="http://schemas.openxmlformats.org/drawingml/2006/main" name="1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16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7EC78B1C-5D69-4949-9B2C-D1A06225736E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1EAB93-89FC-7C45-A263-CCB4337C1C1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B2B0FD12-3727-E94A-BBF9-50CA084E2676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535D1B-DEC1-D540-9F33-D202B6B25608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638900D9-EBF9-0D4A-AE83-BD423BA4FCE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86</Words>
  <Application>Microsoft Office PowerPoint</Application>
  <PresentationFormat>Custom</PresentationFormat>
  <Paragraphs>180</Paragraphs>
  <Slides>1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5" baseType="lpstr">
      <vt:lpstr>ＭＳ Ｐゴシック</vt:lpstr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Divider Slides</vt:lpstr>
      <vt:lpstr>1_Copy Slides</vt:lpstr>
      <vt:lpstr>2_Copy Slides</vt:lpstr>
      <vt:lpstr>1_Image Slides</vt:lpstr>
      <vt:lpstr>think-cell Slide</vt:lpstr>
      <vt:lpstr>Main shoppers with  children want  quality time </vt:lpstr>
      <vt:lpstr>Main shoppers with children want quality time</vt:lpstr>
      <vt:lpstr>Home VIEWING HABITS ARE CHANGING DRAMATICALLY</vt:lpstr>
      <vt:lpstr>Streaming is fuelling their passion for film </vt:lpstr>
      <vt:lpstr>Cinemagoing has increased and stayed consistent over the last decade</vt:lpstr>
      <vt:lpstr>Cinema remains THE go-to place for family entertainment </vt:lpstr>
      <vt:lpstr>Family ticket sales peak during key periods of the year </vt:lpstr>
      <vt:lpstr>Escape to the cinema with the whole family </vt:lpstr>
      <vt:lpstr>Co-viewing increases advertising impact </vt:lpstr>
      <vt:lpstr>CINEMA IS A treat for the kids, a break for the parents </vt:lpstr>
      <vt:lpstr>Cinema is an ‘appointment to view’ experience </vt:lpstr>
      <vt:lpstr>Your advertising can have instant impact </vt:lpstr>
      <vt:lpstr>engage them with cinema in 2020</vt:lpstr>
      <vt:lpstr>Family products for family audience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6-07T15:29:16Z</dcterms:created>
  <dcterms:modified xsi:type="dcterms:W3CDTF">2020-01-28T16:03:49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